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5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6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7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8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9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0.xml" ContentType="application/vnd.openxmlformats-officedocument.theme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1.xml" ContentType="application/vnd.openxmlformats-officedocument.theme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2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6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7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8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  <p:sldMasterId id="2147483675" r:id="rId2"/>
    <p:sldMasterId id="2147483841" r:id="rId3"/>
    <p:sldMasterId id="2147485833" r:id="rId4"/>
    <p:sldMasterId id="2147485850" r:id="rId5"/>
    <p:sldMasterId id="2147486630" r:id="rId6"/>
    <p:sldMasterId id="2147490207" r:id="rId7"/>
    <p:sldMasterId id="2147490219" r:id="rId8"/>
    <p:sldMasterId id="2147490235" r:id="rId9"/>
    <p:sldMasterId id="2147490247" r:id="rId10"/>
    <p:sldMasterId id="2147490260" r:id="rId11"/>
    <p:sldMasterId id="2147490277" r:id="rId12"/>
    <p:sldMasterId id="2147490285" r:id="rId13"/>
    <p:sldMasterId id="2147490289" r:id="rId14"/>
  </p:sldMasterIdLst>
  <p:notesMasterIdLst>
    <p:notesMasterId r:id="rId40"/>
  </p:notesMasterIdLst>
  <p:handoutMasterIdLst>
    <p:handoutMasterId r:id="rId41"/>
  </p:handoutMasterIdLst>
  <p:sldIdLst>
    <p:sldId id="763" r:id="rId15"/>
    <p:sldId id="799" r:id="rId16"/>
    <p:sldId id="793" r:id="rId17"/>
    <p:sldId id="767" r:id="rId18"/>
    <p:sldId id="782" r:id="rId19"/>
    <p:sldId id="797" r:id="rId20"/>
    <p:sldId id="792" r:id="rId21"/>
    <p:sldId id="765" r:id="rId22"/>
    <p:sldId id="800" r:id="rId23"/>
    <p:sldId id="803" r:id="rId24"/>
    <p:sldId id="804" r:id="rId25"/>
    <p:sldId id="801" r:id="rId26"/>
    <p:sldId id="785" r:id="rId27"/>
    <p:sldId id="772" r:id="rId28"/>
    <p:sldId id="784" r:id="rId29"/>
    <p:sldId id="802" r:id="rId30"/>
    <p:sldId id="762" r:id="rId31"/>
    <p:sldId id="786" r:id="rId32"/>
    <p:sldId id="787" r:id="rId33"/>
    <p:sldId id="788" r:id="rId34"/>
    <p:sldId id="777" r:id="rId35"/>
    <p:sldId id="789" r:id="rId36"/>
    <p:sldId id="779" r:id="rId37"/>
    <p:sldId id="783" r:id="rId38"/>
    <p:sldId id="798" r:id="rId39"/>
  </p:sldIdLst>
  <p:sldSz cx="9906000" cy="6858000" type="A4"/>
  <p:notesSz cx="6797675" cy="987266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Expert Sans Regular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Expert Sans Regular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Expert Sans Regular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Expert Sans Regular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Expert Sans Regular" pitchFamily="34" charset="0"/>
        <a:ea typeface="+mn-ea"/>
        <a:cs typeface="Arial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Expert Sans Regular" pitchFamily="34" charset="0"/>
        <a:ea typeface="+mn-ea"/>
        <a:cs typeface="Arial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Expert Sans Regular" pitchFamily="34" charset="0"/>
        <a:ea typeface="+mn-ea"/>
        <a:cs typeface="Arial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Expert Sans Regular" pitchFamily="34" charset="0"/>
        <a:ea typeface="+mn-ea"/>
        <a:cs typeface="Arial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Expert Sans Regular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319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00"/>
    <a:srgbClr val="F58025"/>
    <a:srgbClr val="679EB6"/>
    <a:srgbClr val="003A63"/>
    <a:srgbClr val="FF66FF"/>
    <a:srgbClr val="C0C0C0"/>
    <a:srgbClr val="5BCBF5"/>
    <a:srgbClr val="006F51"/>
    <a:srgbClr val="808284"/>
    <a:srgbClr val="66FF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118" autoAdjust="0"/>
    <p:restoredTop sz="83544" autoAdjust="0"/>
  </p:normalViewPr>
  <p:slideViewPr>
    <p:cSldViewPr snapToGrid="0">
      <p:cViewPr varScale="1">
        <p:scale>
          <a:sx n="93" d="100"/>
          <a:sy n="93" d="100"/>
        </p:scale>
        <p:origin x="2256" y="96"/>
      </p:cViewPr>
      <p:guideLst>
        <p:guide orient="horz" pos="4319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-2190" y="-108"/>
      </p:cViewPr>
      <p:guideLst>
        <p:guide orient="horz" pos="3110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slide" Target="slides/slide25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9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20" Type="http://schemas.openxmlformats.org/officeDocument/2006/relationships/slide" Target="slides/slide6.xml"/><Relationship Id="rId41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/>
          <a:lstStyle/>
          <a:p>
            <a:pPr lvl="0"/>
            <a:endParaRPr lang="en-GB"/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9.2855096166138407E-2"/>
          <c:y val="0"/>
          <c:w val="1"/>
          <c:h val="1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noFill/>
            <a:ln w="12700" cap="flat">
              <a:noFill/>
              <a:miter lim="400000"/>
            </a:ln>
            <a:effectLst/>
          </c:spPr>
          <c:dPt>
            <c:idx val="0"/>
            <c:bubble3D val="0"/>
          </c:dPt>
          <c:dPt>
            <c:idx val="1"/>
            <c:bubble3D val="0"/>
            <c:spPr>
              <a:solidFill>
                <a:srgbClr val="3886C6"/>
              </a:solidFill>
              <a:ln w="12700" cap="flat">
                <a:noFill/>
                <a:miter lim="400000"/>
              </a:ln>
              <a:effectLst/>
            </c:spPr>
          </c:dPt>
          <c:dPt>
            <c:idx val="2"/>
            <c:bubble3D val="0"/>
            <c:spPr>
              <a:solidFill>
                <a:srgbClr val="B9B9B9"/>
              </a:solidFill>
              <a:ln w="12700" cap="flat">
                <a:noFill/>
                <a:miter lim="400000"/>
              </a:ln>
              <a:effectLst/>
            </c:spPr>
          </c:dPt>
          <c:cat>
            <c:strRef>
              <c:f>Sheet1!$B$1:$D$1</c:f>
              <c:strCache>
                <c:ptCount val="3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</c:strCache>
            </c:strRef>
          </c:cat>
          <c:val>
            <c:numRef>
              <c:f>Sheet1!$B$2:$D$2</c:f>
              <c:numCache>
                <c:formatCode>General</c:formatCode>
                <c:ptCount val="3"/>
                <c:pt idx="0">
                  <c:v>50</c:v>
                </c:pt>
                <c:pt idx="1">
                  <c:v>10</c:v>
                </c:pt>
                <c:pt idx="2">
                  <c:v>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9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/>
          <a:lstStyle/>
          <a:p>
            <a:pPr lvl="0"/>
            <a:endParaRPr lang="en-GB"/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9.2855096166138407E-2"/>
          <c:y val="0"/>
          <c:w val="1"/>
          <c:h val="1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noFill/>
            <a:ln w="12700" cap="flat">
              <a:noFill/>
              <a:miter lim="400000"/>
            </a:ln>
            <a:effectLst/>
          </c:spPr>
          <c:dPt>
            <c:idx val="0"/>
            <c:bubble3D val="0"/>
          </c:dPt>
          <c:dPt>
            <c:idx val="1"/>
            <c:bubble3D val="0"/>
            <c:spPr>
              <a:solidFill>
                <a:srgbClr val="3886C6"/>
              </a:solidFill>
              <a:ln w="12700" cap="flat">
                <a:noFill/>
                <a:miter lim="400000"/>
              </a:ln>
              <a:effectLst/>
            </c:spPr>
          </c:dPt>
          <c:dPt>
            <c:idx val="2"/>
            <c:bubble3D val="0"/>
            <c:spPr>
              <a:solidFill>
                <a:srgbClr val="B9B9B9"/>
              </a:solidFill>
              <a:ln w="12700" cap="flat">
                <a:noFill/>
                <a:miter lim="400000"/>
              </a:ln>
              <a:effectLst/>
            </c:spPr>
          </c:dPt>
          <c:cat>
            <c:strRef>
              <c:f>Sheet1!$B$1:$D$1</c:f>
              <c:strCache>
                <c:ptCount val="3"/>
                <c:pt idx="0">
                  <c:v>White</c:v>
                </c:pt>
                <c:pt idx="1">
                  <c:v>Blue</c:v>
                </c:pt>
                <c:pt idx="2">
                  <c:v>Grey</c:v>
                </c:pt>
              </c:strCache>
            </c:strRef>
          </c:cat>
          <c:val>
            <c:numRef>
              <c:f>Sheet1!$B$2:$D$2</c:f>
              <c:numCache>
                <c:formatCode>General</c:formatCode>
                <c:ptCount val="3"/>
                <c:pt idx="0">
                  <c:v>50</c:v>
                </c:pt>
                <c:pt idx="1">
                  <c:v>30</c:v>
                </c:pt>
                <c:pt idx="2">
                  <c:v>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9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/>
          <a:lstStyle/>
          <a:p>
            <a:pPr lvl="0"/>
            <a:endParaRPr lang="en-GB"/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9.2855096166138407E-2"/>
          <c:y val="0"/>
          <c:w val="1"/>
          <c:h val="1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noFill/>
            <a:ln w="12700" cap="flat">
              <a:noFill/>
              <a:miter lim="400000"/>
            </a:ln>
            <a:effectLst/>
          </c:spPr>
          <c:dPt>
            <c:idx val="0"/>
            <c:bubble3D val="0"/>
          </c:dPt>
          <c:dPt>
            <c:idx val="1"/>
            <c:bubble3D val="0"/>
            <c:spPr>
              <a:solidFill>
                <a:srgbClr val="3886C6"/>
              </a:solidFill>
              <a:ln w="12700" cap="flat">
                <a:noFill/>
                <a:miter lim="400000"/>
              </a:ln>
              <a:effectLst/>
            </c:spPr>
          </c:dPt>
          <c:dPt>
            <c:idx val="2"/>
            <c:bubble3D val="0"/>
            <c:spPr>
              <a:solidFill>
                <a:srgbClr val="B9B9B9"/>
              </a:solidFill>
              <a:ln w="12700" cap="flat">
                <a:noFill/>
                <a:miter lim="400000"/>
              </a:ln>
              <a:effectLst/>
            </c:spPr>
          </c:dPt>
          <c:cat>
            <c:strRef>
              <c:f>Sheet1!$B$1:$D$1</c:f>
              <c:strCache>
                <c:ptCount val="3"/>
                <c:pt idx="0">
                  <c:v>White</c:v>
                </c:pt>
                <c:pt idx="1">
                  <c:v>Blue</c:v>
                </c:pt>
                <c:pt idx="2">
                  <c:v>Grey</c:v>
                </c:pt>
              </c:strCache>
            </c:strRef>
          </c:cat>
          <c:val>
            <c:numRef>
              <c:f>Sheet1!$B$2:$D$2</c:f>
              <c:numCache>
                <c:formatCode>General</c:formatCode>
                <c:ptCount val="3"/>
                <c:pt idx="0">
                  <c:v>50</c:v>
                </c:pt>
                <c:pt idx="1">
                  <c:v>45</c:v>
                </c:pt>
                <c:pt idx="2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9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/>
          <a:lstStyle/>
          <a:p>
            <a:pPr lvl="0"/>
            <a:endParaRPr lang="en-GB"/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9.2855096166138407E-2"/>
          <c:y val="0"/>
          <c:w val="1"/>
          <c:h val="1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noFill/>
            <a:ln w="12700" cap="flat">
              <a:noFill/>
              <a:miter lim="400000"/>
            </a:ln>
            <a:effectLst/>
          </c:spPr>
          <c:dPt>
            <c:idx val="0"/>
            <c:bubble3D val="0"/>
          </c:dPt>
          <c:dPt>
            <c:idx val="1"/>
            <c:bubble3D val="0"/>
            <c:spPr>
              <a:solidFill>
                <a:srgbClr val="3886C6"/>
              </a:solidFill>
              <a:ln w="12700" cap="flat">
                <a:noFill/>
                <a:miter lim="400000"/>
              </a:ln>
              <a:effectLst/>
            </c:spPr>
          </c:dPt>
          <c:dPt>
            <c:idx val="2"/>
            <c:bubble3D val="0"/>
            <c:spPr>
              <a:solidFill>
                <a:srgbClr val="B9B9B9"/>
              </a:solidFill>
              <a:ln w="12700" cap="flat">
                <a:noFill/>
                <a:miter lim="400000"/>
              </a:ln>
              <a:effectLst/>
            </c:spPr>
          </c:dPt>
          <c:cat>
            <c:strRef>
              <c:f>Sheet1!$B$1:$D$1</c:f>
              <c:strCache>
                <c:ptCount val="3"/>
                <c:pt idx="0">
                  <c:v>white</c:v>
                </c:pt>
                <c:pt idx="1">
                  <c:v>blue</c:v>
                </c:pt>
                <c:pt idx="2">
                  <c:v>grey</c:v>
                </c:pt>
              </c:strCache>
            </c:strRef>
          </c:cat>
          <c:val>
            <c:numRef>
              <c:f>Sheet1!$B$2:$D$2</c:f>
              <c:numCache>
                <c:formatCode>General</c:formatCode>
                <c:ptCount val="3"/>
                <c:pt idx="0">
                  <c:v>50</c:v>
                </c:pt>
                <c:pt idx="1">
                  <c:v>10</c:v>
                </c:pt>
                <c:pt idx="2">
                  <c:v>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9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/>
          <a:lstStyle/>
          <a:p>
            <a:pPr lvl="0"/>
            <a:endParaRPr lang="en-GB"/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9.2855096166138407E-2"/>
          <c:y val="0"/>
          <c:w val="1"/>
          <c:h val="1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noFill/>
            <a:ln w="12700" cap="flat">
              <a:noFill/>
              <a:miter lim="400000"/>
            </a:ln>
            <a:effectLst/>
          </c:spPr>
          <c:dPt>
            <c:idx val="0"/>
            <c:bubble3D val="0"/>
          </c:dPt>
          <c:dPt>
            <c:idx val="1"/>
            <c:bubble3D val="0"/>
            <c:spPr>
              <a:solidFill>
                <a:srgbClr val="3886C6"/>
              </a:solidFill>
              <a:ln w="12700" cap="flat">
                <a:noFill/>
                <a:miter lim="400000"/>
              </a:ln>
              <a:effectLst/>
            </c:spPr>
          </c:dPt>
          <c:dPt>
            <c:idx val="2"/>
            <c:bubble3D val="0"/>
            <c:spPr>
              <a:solidFill>
                <a:srgbClr val="B9B9B9"/>
              </a:solidFill>
              <a:ln w="12700" cap="flat">
                <a:noFill/>
                <a:miter lim="400000"/>
              </a:ln>
              <a:effectLst/>
            </c:spPr>
          </c:dPt>
          <c:cat>
            <c:strRef>
              <c:f>Sheet1!$B$1:$D$1</c:f>
              <c:strCache>
                <c:ptCount val="3"/>
                <c:pt idx="0">
                  <c:v>white</c:v>
                </c:pt>
                <c:pt idx="1">
                  <c:v>blue</c:v>
                </c:pt>
                <c:pt idx="2">
                  <c:v>June</c:v>
                </c:pt>
              </c:strCache>
            </c:strRef>
          </c:cat>
          <c:val>
            <c:numRef>
              <c:f>Sheet1!$B$2:$D$2</c:f>
              <c:numCache>
                <c:formatCode>General</c:formatCode>
                <c:ptCount val="3"/>
                <c:pt idx="0">
                  <c:v>50</c:v>
                </c:pt>
                <c:pt idx="1">
                  <c:v>30</c:v>
                </c:pt>
                <c:pt idx="2">
                  <c:v>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9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/>
          <a:lstStyle/>
          <a:p>
            <a:pPr lvl="0"/>
            <a:endParaRPr lang="en-GB"/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9.2855096166138407E-2"/>
          <c:y val="0"/>
          <c:w val="1"/>
          <c:h val="1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noFill/>
            <a:ln w="12700" cap="flat">
              <a:noFill/>
              <a:miter lim="400000"/>
            </a:ln>
            <a:effectLst/>
          </c:spPr>
          <c:dPt>
            <c:idx val="0"/>
            <c:bubble3D val="0"/>
          </c:dPt>
          <c:dPt>
            <c:idx val="1"/>
            <c:bubble3D val="0"/>
            <c:spPr>
              <a:solidFill>
                <a:srgbClr val="3886C6"/>
              </a:solidFill>
              <a:ln w="12700" cap="flat">
                <a:noFill/>
                <a:miter lim="400000"/>
              </a:ln>
              <a:effectLst/>
            </c:spPr>
          </c:dPt>
          <c:dPt>
            <c:idx val="2"/>
            <c:bubble3D val="0"/>
            <c:spPr>
              <a:solidFill>
                <a:srgbClr val="B9B9B9"/>
              </a:solidFill>
              <a:ln w="12700" cap="flat">
                <a:noFill/>
                <a:miter lim="400000"/>
              </a:ln>
              <a:effectLst/>
            </c:spPr>
          </c:dPt>
          <c:cat>
            <c:strRef>
              <c:f>Sheet1!$B$1:$D$1</c:f>
              <c:strCache>
                <c:ptCount val="3"/>
                <c:pt idx="0">
                  <c:v>white</c:v>
                </c:pt>
                <c:pt idx="1">
                  <c:v>blue</c:v>
                </c:pt>
                <c:pt idx="2">
                  <c:v>grey</c:v>
                </c:pt>
              </c:strCache>
            </c:strRef>
          </c:cat>
          <c:val>
            <c:numRef>
              <c:f>Sheet1!$B$2:$D$2</c:f>
              <c:numCache>
                <c:formatCode>General</c:formatCode>
                <c:ptCount val="3"/>
                <c:pt idx="0">
                  <c:v>50</c:v>
                </c:pt>
                <c:pt idx="1">
                  <c:v>25</c:v>
                </c:pt>
                <c:pt idx="2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9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C08B5FC-B6CA-4252-BEA0-37EFB01CEA54}" type="doc">
      <dgm:prSet loTypeId="urn:microsoft.com/office/officeart/2005/8/layout/vList5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A47B4C43-6AC6-4338-AC6E-34BC6FD23FB5}">
      <dgm:prSet phldrT="[Text]" custT="1"/>
      <dgm:spPr/>
      <dgm:t>
        <a:bodyPr/>
        <a:lstStyle/>
        <a:p>
          <a:pPr algn="l"/>
          <a:r>
            <a:rPr lang="en-GB" sz="1800" dirty="0" smtClean="0">
              <a:latin typeface="+mj-lt"/>
            </a:rPr>
            <a:t>Culture</a:t>
          </a:r>
          <a:endParaRPr lang="en-US" sz="1800" dirty="0"/>
        </a:p>
      </dgm:t>
    </dgm:pt>
    <dgm:pt modelId="{7E98F779-3051-488B-9016-5C9AA55AB76F}" type="parTrans" cxnId="{40223BC4-6911-45AE-B2B4-2E7B71FFAC7E}">
      <dgm:prSet/>
      <dgm:spPr/>
      <dgm:t>
        <a:bodyPr/>
        <a:lstStyle/>
        <a:p>
          <a:endParaRPr lang="en-US" sz="2800"/>
        </a:p>
      </dgm:t>
    </dgm:pt>
    <dgm:pt modelId="{0AB5512E-E8F3-45D9-BCBF-30A334989EAE}" type="sibTrans" cxnId="{40223BC4-6911-45AE-B2B4-2E7B71FFAC7E}">
      <dgm:prSet/>
      <dgm:spPr/>
      <dgm:t>
        <a:bodyPr/>
        <a:lstStyle/>
        <a:p>
          <a:endParaRPr lang="en-US" sz="2800"/>
        </a:p>
      </dgm:t>
    </dgm:pt>
    <dgm:pt modelId="{81B8B2DF-3407-469D-8F01-52266F976353}">
      <dgm:prSet custT="1"/>
      <dgm:spPr/>
      <dgm:t>
        <a:bodyPr/>
        <a:lstStyle/>
        <a:p>
          <a:pPr marL="182563" indent="-182563"/>
          <a:r>
            <a:rPr lang="en-GB" sz="1400" dirty="0" smtClean="0">
              <a:latin typeface="+mj-lt"/>
              <a:cs typeface="Arial" charset="0"/>
            </a:rPr>
            <a:t>Create a culture of cohesive delivery with all stakeholders working together, development, Test &amp; Operations.</a:t>
          </a:r>
          <a:endParaRPr lang="en-GB" sz="1400" dirty="0">
            <a:latin typeface="+mj-lt"/>
            <a:cs typeface="Arial" charset="0"/>
          </a:endParaRPr>
        </a:p>
      </dgm:t>
    </dgm:pt>
    <dgm:pt modelId="{01FC432F-DDB7-4DDC-8C53-295E9D3841C3}" type="parTrans" cxnId="{6FC23B2D-7366-4A6C-A5E4-48D215847D2A}">
      <dgm:prSet/>
      <dgm:spPr/>
      <dgm:t>
        <a:bodyPr/>
        <a:lstStyle/>
        <a:p>
          <a:endParaRPr lang="en-US" sz="2800"/>
        </a:p>
      </dgm:t>
    </dgm:pt>
    <dgm:pt modelId="{4F56D566-99C0-49B2-9103-4974F6DA4442}" type="sibTrans" cxnId="{6FC23B2D-7366-4A6C-A5E4-48D215847D2A}">
      <dgm:prSet/>
      <dgm:spPr/>
      <dgm:t>
        <a:bodyPr/>
        <a:lstStyle/>
        <a:p>
          <a:endParaRPr lang="en-US" sz="2800"/>
        </a:p>
      </dgm:t>
    </dgm:pt>
    <dgm:pt modelId="{9CDC5D8C-4856-4CB8-B91A-575A1C0AAE81}">
      <dgm:prSet custT="1"/>
      <dgm:spPr/>
      <dgm:t>
        <a:bodyPr/>
        <a:lstStyle/>
        <a:p>
          <a:pPr algn="l"/>
          <a:r>
            <a:rPr lang="en-GB" sz="1800" dirty="0" smtClean="0">
              <a:latin typeface="+mj-lt"/>
            </a:rPr>
            <a:t>Automate</a:t>
          </a:r>
          <a:endParaRPr lang="en-GB" sz="1800" dirty="0">
            <a:latin typeface="+mj-lt"/>
          </a:endParaRPr>
        </a:p>
      </dgm:t>
    </dgm:pt>
    <dgm:pt modelId="{84EF7C15-E6AF-4F3C-85F1-4A8C54884F70}" type="parTrans" cxnId="{82682E46-426B-43F2-B416-D5E433F5A46A}">
      <dgm:prSet/>
      <dgm:spPr/>
      <dgm:t>
        <a:bodyPr/>
        <a:lstStyle/>
        <a:p>
          <a:endParaRPr lang="en-US" sz="2800"/>
        </a:p>
      </dgm:t>
    </dgm:pt>
    <dgm:pt modelId="{F3F8B830-2144-4A2C-8AB4-0CE819296EF0}" type="sibTrans" cxnId="{82682E46-426B-43F2-B416-D5E433F5A46A}">
      <dgm:prSet/>
      <dgm:spPr/>
      <dgm:t>
        <a:bodyPr/>
        <a:lstStyle/>
        <a:p>
          <a:endParaRPr lang="en-US" sz="2800"/>
        </a:p>
      </dgm:t>
    </dgm:pt>
    <dgm:pt modelId="{98331EAE-E558-4356-B2F3-17F69AEB1009}">
      <dgm:prSet custT="1"/>
      <dgm:spPr/>
      <dgm:t>
        <a:bodyPr/>
        <a:lstStyle/>
        <a:p>
          <a:pPr marL="182563" indent="-182563"/>
          <a:r>
            <a:rPr lang="en-GB" sz="1400" dirty="0" smtClean="0">
              <a:latin typeface="+mj-lt"/>
              <a:cs typeface="Arial" charset="0"/>
            </a:rPr>
            <a:t>Enable software delivery to be a routine task with predictable results using automation.</a:t>
          </a:r>
          <a:endParaRPr lang="en-GB" sz="1400" dirty="0">
            <a:latin typeface="+mj-lt"/>
            <a:cs typeface="Arial" charset="0"/>
          </a:endParaRPr>
        </a:p>
      </dgm:t>
    </dgm:pt>
    <dgm:pt modelId="{A0BD5270-B111-4B51-997C-AE2B809DC703}" type="parTrans" cxnId="{1F616784-7A0E-4A5C-B7C6-04292B7E7558}">
      <dgm:prSet/>
      <dgm:spPr/>
      <dgm:t>
        <a:bodyPr/>
        <a:lstStyle/>
        <a:p>
          <a:endParaRPr lang="en-US" sz="2800"/>
        </a:p>
      </dgm:t>
    </dgm:pt>
    <dgm:pt modelId="{459BD4EB-B897-442C-BED0-948EAE05C3A8}" type="sibTrans" cxnId="{1F616784-7A0E-4A5C-B7C6-04292B7E7558}">
      <dgm:prSet/>
      <dgm:spPr/>
      <dgm:t>
        <a:bodyPr/>
        <a:lstStyle/>
        <a:p>
          <a:endParaRPr lang="en-US" sz="2800"/>
        </a:p>
      </dgm:t>
    </dgm:pt>
    <dgm:pt modelId="{280C5D32-E30B-4F4E-8BE6-6D09446F568C}">
      <dgm:prSet custT="1"/>
      <dgm:spPr/>
      <dgm:t>
        <a:bodyPr/>
        <a:lstStyle/>
        <a:p>
          <a:pPr algn="l"/>
          <a:r>
            <a:rPr lang="en-GB" sz="1800" dirty="0" smtClean="0">
              <a:latin typeface="+mj-lt"/>
            </a:rPr>
            <a:t>Measure</a:t>
          </a:r>
          <a:endParaRPr lang="en-GB" sz="1800" dirty="0">
            <a:latin typeface="+mj-lt"/>
          </a:endParaRPr>
        </a:p>
      </dgm:t>
    </dgm:pt>
    <dgm:pt modelId="{65DB2816-68B7-4E3C-9983-DFDC88832327}" type="parTrans" cxnId="{A5EE0AA3-DDC0-4054-A319-D9B8E71B19A4}">
      <dgm:prSet/>
      <dgm:spPr/>
      <dgm:t>
        <a:bodyPr/>
        <a:lstStyle/>
        <a:p>
          <a:endParaRPr lang="en-US" sz="2800"/>
        </a:p>
      </dgm:t>
    </dgm:pt>
    <dgm:pt modelId="{B497B59A-9D04-44A8-A753-10150F480B15}" type="sibTrans" cxnId="{A5EE0AA3-DDC0-4054-A319-D9B8E71B19A4}">
      <dgm:prSet/>
      <dgm:spPr/>
      <dgm:t>
        <a:bodyPr/>
        <a:lstStyle/>
        <a:p>
          <a:endParaRPr lang="en-US" sz="2800"/>
        </a:p>
      </dgm:t>
    </dgm:pt>
    <dgm:pt modelId="{EF390A19-B035-48A3-A61E-BF9F13A67BA9}">
      <dgm:prSet custT="1"/>
      <dgm:spPr/>
      <dgm:t>
        <a:bodyPr/>
        <a:lstStyle/>
        <a:p>
          <a:pPr marL="182563" indent="-182563"/>
          <a:r>
            <a:rPr lang="en-GB" sz="1400" dirty="0" smtClean="0">
              <a:latin typeface="+mj-lt"/>
              <a:cs typeface="Arial" charset="0"/>
            </a:rPr>
            <a:t>Capture the key measurements to ensure we are making the difference, and are on the right track.</a:t>
          </a:r>
          <a:endParaRPr lang="en-GB" sz="1400" dirty="0">
            <a:latin typeface="+mj-lt"/>
            <a:cs typeface="Arial" charset="0"/>
          </a:endParaRPr>
        </a:p>
      </dgm:t>
    </dgm:pt>
    <dgm:pt modelId="{CABEA71B-FFFD-4544-B065-569B525291D2}" type="parTrans" cxnId="{B7F3E6CF-A47B-4479-A94C-D05A17DAD186}">
      <dgm:prSet/>
      <dgm:spPr/>
      <dgm:t>
        <a:bodyPr/>
        <a:lstStyle/>
        <a:p>
          <a:endParaRPr lang="en-US" sz="2800"/>
        </a:p>
      </dgm:t>
    </dgm:pt>
    <dgm:pt modelId="{C4A95B44-ED6B-4410-898B-DE2EE822BA7A}" type="sibTrans" cxnId="{B7F3E6CF-A47B-4479-A94C-D05A17DAD186}">
      <dgm:prSet/>
      <dgm:spPr/>
      <dgm:t>
        <a:bodyPr/>
        <a:lstStyle/>
        <a:p>
          <a:endParaRPr lang="en-US" sz="2800"/>
        </a:p>
      </dgm:t>
    </dgm:pt>
    <dgm:pt modelId="{F95288F8-AA6D-448B-B938-2443C99EC16E}">
      <dgm:prSet custT="1"/>
      <dgm:spPr/>
      <dgm:t>
        <a:bodyPr/>
        <a:lstStyle/>
        <a:p>
          <a:pPr algn="l"/>
          <a:r>
            <a:rPr lang="en-GB" sz="1800" dirty="0" smtClean="0">
              <a:latin typeface="+mj-lt"/>
            </a:rPr>
            <a:t>Share</a:t>
          </a:r>
          <a:endParaRPr lang="en-GB" sz="1800" dirty="0">
            <a:latin typeface="+mj-lt"/>
          </a:endParaRPr>
        </a:p>
      </dgm:t>
    </dgm:pt>
    <dgm:pt modelId="{966F7F2A-CBF0-4CF1-A204-C5B0BEFE1036}" type="parTrans" cxnId="{DB54ED76-0B3C-42AD-834B-60B2D544808D}">
      <dgm:prSet/>
      <dgm:spPr/>
      <dgm:t>
        <a:bodyPr/>
        <a:lstStyle/>
        <a:p>
          <a:endParaRPr lang="en-US" sz="2800"/>
        </a:p>
      </dgm:t>
    </dgm:pt>
    <dgm:pt modelId="{BC6A6622-BDBE-4DDF-A4A1-7FEF6E822B81}" type="sibTrans" cxnId="{DB54ED76-0B3C-42AD-834B-60B2D544808D}">
      <dgm:prSet/>
      <dgm:spPr/>
      <dgm:t>
        <a:bodyPr/>
        <a:lstStyle/>
        <a:p>
          <a:endParaRPr lang="en-US" sz="2800"/>
        </a:p>
      </dgm:t>
    </dgm:pt>
    <dgm:pt modelId="{6F1ABE07-F4BE-4897-B0CA-988EA4507596}">
      <dgm:prSet custT="1"/>
      <dgm:spPr/>
      <dgm:t>
        <a:bodyPr/>
        <a:lstStyle/>
        <a:p>
          <a:pPr marL="182563" indent="-182563"/>
          <a:r>
            <a:rPr lang="en-GB" sz="1400" dirty="0" smtClean="0">
              <a:latin typeface="+mj-lt"/>
              <a:cs typeface="Arial" charset="0"/>
            </a:rPr>
            <a:t>Share the successes and the benefits across the organisation, creating a an environment that is conducive to a collaborative mind-set.</a:t>
          </a:r>
          <a:endParaRPr lang="en-GB" sz="1400" dirty="0">
            <a:latin typeface="+mj-lt"/>
            <a:cs typeface="Arial" charset="0"/>
          </a:endParaRPr>
        </a:p>
      </dgm:t>
    </dgm:pt>
    <dgm:pt modelId="{7C9CFA65-0A42-485D-8647-9D001F19B696}" type="parTrans" cxnId="{7D721912-5880-4BB1-814D-192AD35F8E26}">
      <dgm:prSet/>
      <dgm:spPr/>
      <dgm:t>
        <a:bodyPr/>
        <a:lstStyle/>
        <a:p>
          <a:endParaRPr lang="en-US" sz="2800"/>
        </a:p>
      </dgm:t>
    </dgm:pt>
    <dgm:pt modelId="{A3E5FB23-272A-490E-A138-16B66DF3A0DE}" type="sibTrans" cxnId="{7D721912-5880-4BB1-814D-192AD35F8E26}">
      <dgm:prSet/>
      <dgm:spPr/>
      <dgm:t>
        <a:bodyPr/>
        <a:lstStyle/>
        <a:p>
          <a:endParaRPr lang="en-US" sz="2800"/>
        </a:p>
      </dgm:t>
    </dgm:pt>
    <dgm:pt modelId="{0C11ADB9-7472-4F90-8306-6DD6B2677F1C}" type="pres">
      <dgm:prSet presAssocID="{5C08B5FC-B6CA-4252-BEA0-37EFB01CEA54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743DBB9E-CD2A-4AC9-BC34-9C569684BCD7}" type="pres">
      <dgm:prSet presAssocID="{A47B4C43-6AC6-4338-AC6E-34BC6FD23FB5}" presName="linNode" presStyleCnt="0"/>
      <dgm:spPr/>
    </dgm:pt>
    <dgm:pt modelId="{DEE9F56D-9B37-4C2F-9DD4-17809C6C5721}" type="pres">
      <dgm:prSet presAssocID="{A47B4C43-6AC6-4338-AC6E-34BC6FD23FB5}" presName="parentText" presStyleLbl="node1" presStyleIdx="0" presStyleCnt="4" custScaleX="8032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B221EE7-42D4-4D74-8165-8222536F2856}" type="pres">
      <dgm:prSet presAssocID="{A47B4C43-6AC6-4338-AC6E-34BC6FD23FB5}" presName="descendantText" presStyleLbl="alignAccFollowNode1" presStyleIdx="0" presStyleCnt="4" custLinFactNeighborX="0" custLinFactNeighborY="103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5A838A3-FD4F-4A17-B494-5AFA22981911}" type="pres">
      <dgm:prSet presAssocID="{0AB5512E-E8F3-45D9-BCBF-30A334989EAE}" presName="sp" presStyleCnt="0"/>
      <dgm:spPr/>
    </dgm:pt>
    <dgm:pt modelId="{8C758EE1-2CA1-429F-B90F-BA3FC2A38391}" type="pres">
      <dgm:prSet presAssocID="{9CDC5D8C-4856-4CB8-B91A-575A1C0AAE81}" presName="linNode" presStyleCnt="0"/>
      <dgm:spPr/>
    </dgm:pt>
    <dgm:pt modelId="{F9252853-3E74-4FF0-9A5E-67D5CAE8636B}" type="pres">
      <dgm:prSet presAssocID="{9CDC5D8C-4856-4CB8-B91A-575A1C0AAE81}" presName="parentText" presStyleLbl="node1" presStyleIdx="1" presStyleCnt="4" custScaleX="8032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674C425-8CC7-40AC-B5DA-6EF5B90BEBD4}" type="pres">
      <dgm:prSet presAssocID="{9CDC5D8C-4856-4CB8-B91A-575A1C0AAE81}" presName="descendantText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2F9C2EA-9723-49B9-B2C9-EA0784535A3C}" type="pres">
      <dgm:prSet presAssocID="{F3F8B830-2144-4A2C-8AB4-0CE819296EF0}" presName="sp" presStyleCnt="0"/>
      <dgm:spPr/>
    </dgm:pt>
    <dgm:pt modelId="{21F82906-E5F3-4C1B-8127-F3E73D4B7A3B}" type="pres">
      <dgm:prSet presAssocID="{280C5D32-E30B-4F4E-8BE6-6D09446F568C}" presName="linNode" presStyleCnt="0"/>
      <dgm:spPr/>
    </dgm:pt>
    <dgm:pt modelId="{D3C4F50C-3DD5-4F7B-BD89-1E985392BCD6}" type="pres">
      <dgm:prSet presAssocID="{280C5D32-E30B-4F4E-8BE6-6D09446F568C}" presName="parentText" presStyleLbl="node1" presStyleIdx="2" presStyleCnt="4" custScaleX="80326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773795B-AFEF-41F5-9DBB-8432F78C1976}" type="pres">
      <dgm:prSet presAssocID="{280C5D32-E30B-4F4E-8BE6-6D09446F568C}" presName="descendantText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0322974-3051-42C8-B204-21B9FB71A3C3}" type="pres">
      <dgm:prSet presAssocID="{B497B59A-9D04-44A8-A753-10150F480B15}" presName="sp" presStyleCnt="0"/>
      <dgm:spPr/>
    </dgm:pt>
    <dgm:pt modelId="{71E6D1FF-6426-4049-BBFE-438440A6FD59}" type="pres">
      <dgm:prSet presAssocID="{F95288F8-AA6D-448B-B938-2443C99EC16E}" presName="linNode" presStyleCnt="0"/>
      <dgm:spPr/>
    </dgm:pt>
    <dgm:pt modelId="{D79A2F63-1DEE-48CE-979E-E6D72CFBA60E}" type="pres">
      <dgm:prSet presAssocID="{F95288F8-AA6D-448B-B938-2443C99EC16E}" presName="parentText" presStyleLbl="node1" presStyleIdx="3" presStyleCnt="4" custScaleX="8032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3B0898E-B3CF-435F-A7D2-35998824D230}" type="pres">
      <dgm:prSet presAssocID="{F95288F8-AA6D-448B-B938-2443C99EC16E}" presName="descendantText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819E2DE9-BB0F-43DC-8C79-71A3D429E02E}" type="presOf" srcId="{9CDC5D8C-4856-4CB8-B91A-575A1C0AAE81}" destId="{F9252853-3E74-4FF0-9A5E-67D5CAE8636B}" srcOrd="0" destOrd="0" presId="urn:microsoft.com/office/officeart/2005/8/layout/vList5"/>
    <dgm:cxn modelId="{40223BC4-6911-45AE-B2B4-2E7B71FFAC7E}" srcId="{5C08B5FC-B6CA-4252-BEA0-37EFB01CEA54}" destId="{A47B4C43-6AC6-4338-AC6E-34BC6FD23FB5}" srcOrd="0" destOrd="0" parTransId="{7E98F779-3051-488B-9016-5C9AA55AB76F}" sibTransId="{0AB5512E-E8F3-45D9-BCBF-30A334989EAE}"/>
    <dgm:cxn modelId="{8314A7E9-3F87-4E8A-97B8-344B647CABE3}" type="presOf" srcId="{EF390A19-B035-48A3-A61E-BF9F13A67BA9}" destId="{E773795B-AFEF-41F5-9DBB-8432F78C1976}" srcOrd="0" destOrd="0" presId="urn:microsoft.com/office/officeart/2005/8/layout/vList5"/>
    <dgm:cxn modelId="{84904DAD-5FC8-4A27-BC8D-12B87A042DB7}" type="presOf" srcId="{5C08B5FC-B6CA-4252-BEA0-37EFB01CEA54}" destId="{0C11ADB9-7472-4F90-8306-6DD6B2677F1C}" srcOrd="0" destOrd="0" presId="urn:microsoft.com/office/officeart/2005/8/layout/vList5"/>
    <dgm:cxn modelId="{59B6DA89-8942-472A-B4B4-16F92FB8BD43}" type="presOf" srcId="{F95288F8-AA6D-448B-B938-2443C99EC16E}" destId="{D79A2F63-1DEE-48CE-979E-E6D72CFBA60E}" srcOrd="0" destOrd="0" presId="urn:microsoft.com/office/officeart/2005/8/layout/vList5"/>
    <dgm:cxn modelId="{B4FEC1BC-A450-4089-B8DF-538655DDD277}" type="presOf" srcId="{A47B4C43-6AC6-4338-AC6E-34BC6FD23FB5}" destId="{DEE9F56D-9B37-4C2F-9DD4-17809C6C5721}" srcOrd="0" destOrd="0" presId="urn:microsoft.com/office/officeart/2005/8/layout/vList5"/>
    <dgm:cxn modelId="{1F616784-7A0E-4A5C-B7C6-04292B7E7558}" srcId="{9CDC5D8C-4856-4CB8-B91A-575A1C0AAE81}" destId="{98331EAE-E558-4356-B2F3-17F69AEB1009}" srcOrd="0" destOrd="0" parTransId="{A0BD5270-B111-4B51-997C-AE2B809DC703}" sibTransId="{459BD4EB-B897-442C-BED0-948EAE05C3A8}"/>
    <dgm:cxn modelId="{DC191E6D-BA7D-416A-AB33-365894300063}" type="presOf" srcId="{6F1ABE07-F4BE-4897-B0CA-988EA4507596}" destId="{A3B0898E-B3CF-435F-A7D2-35998824D230}" srcOrd="0" destOrd="0" presId="urn:microsoft.com/office/officeart/2005/8/layout/vList5"/>
    <dgm:cxn modelId="{7D721912-5880-4BB1-814D-192AD35F8E26}" srcId="{F95288F8-AA6D-448B-B938-2443C99EC16E}" destId="{6F1ABE07-F4BE-4897-B0CA-988EA4507596}" srcOrd="0" destOrd="0" parTransId="{7C9CFA65-0A42-485D-8647-9D001F19B696}" sibTransId="{A3E5FB23-272A-490E-A138-16B66DF3A0DE}"/>
    <dgm:cxn modelId="{B7F3E6CF-A47B-4479-A94C-D05A17DAD186}" srcId="{280C5D32-E30B-4F4E-8BE6-6D09446F568C}" destId="{EF390A19-B035-48A3-A61E-BF9F13A67BA9}" srcOrd="0" destOrd="0" parTransId="{CABEA71B-FFFD-4544-B065-569B525291D2}" sibTransId="{C4A95B44-ED6B-4410-898B-DE2EE822BA7A}"/>
    <dgm:cxn modelId="{6FC23B2D-7366-4A6C-A5E4-48D215847D2A}" srcId="{A47B4C43-6AC6-4338-AC6E-34BC6FD23FB5}" destId="{81B8B2DF-3407-469D-8F01-52266F976353}" srcOrd="0" destOrd="0" parTransId="{01FC432F-DDB7-4DDC-8C53-295E9D3841C3}" sibTransId="{4F56D566-99C0-49B2-9103-4974F6DA4442}"/>
    <dgm:cxn modelId="{9355700F-1021-4002-A035-A90A2B8BE62E}" type="presOf" srcId="{98331EAE-E558-4356-B2F3-17F69AEB1009}" destId="{3674C425-8CC7-40AC-B5DA-6EF5B90BEBD4}" srcOrd="0" destOrd="0" presId="urn:microsoft.com/office/officeart/2005/8/layout/vList5"/>
    <dgm:cxn modelId="{A5EE0AA3-DDC0-4054-A319-D9B8E71B19A4}" srcId="{5C08B5FC-B6CA-4252-BEA0-37EFB01CEA54}" destId="{280C5D32-E30B-4F4E-8BE6-6D09446F568C}" srcOrd="2" destOrd="0" parTransId="{65DB2816-68B7-4E3C-9983-DFDC88832327}" sibTransId="{B497B59A-9D04-44A8-A753-10150F480B15}"/>
    <dgm:cxn modelId="{DB54ED76-0B3C-42AD-834B-60B2D544808D}" srcId="{5C08B5FC-B6CA-4252-BEA0-37EFB01CEA54}" destId="{F95288F8-AA6D-448B-B938-2443C99EC16E}" srcOrd="3" destOrd="0" parTransId="{966F7F2A-CBF0-4CF1-A204-C5B0BEFE1036}" sibTransId="{BC6A6622-BDBE-4DDF-A4A1-7FEF6E822B81}"/>
    <dgm:cxn modelId="{2D9B6FD3-E69A-49D8-85D3-FA2FEF2E2498}" type="presOf" srcId="{81B8B2DF-3407-469D-8F01-52266F976353}" destId="{2B221EE7-42D4-4D74-8165-8222536F2856}" srcOrd="0" destOrd="0" presId="urn:microsoft.com/office/officeart/2005/8/layout/vList5"/>
    <dgm:cxn modelId="{9ABED64D-E771-4794-BF42-36220074CDA1}" type="presOf" srcId="{280C5D32-E30B-4F4E-8BE6-6D09446F568C}" destId="{D3C4F50C-3DD5-4F7B-BD89-1E985392BCD6}" srcOrd="0" destOrd="0" presId="urn:microsoft.com/office/officeart/2005/8/layout/vList5"/>
    <dgm:cxn modelId="{82682E46-426B-43F2-B416-D5E433F5A46A}" srcId="{5C08B5FC-B6CA-4252-BEA0-37EFB01CEA54}" destId="{9CDC5D8C-4856-4CB8-B91A-575A1C0AAE81}" srcOrd="1" destOrd="0" parTransId="{84EF7C15-E6AF-4F3C-85F1-4A8C54884F70}" sibTransId="{F3F8B830-2144-4A2C-8AB4-0CE819296EF0}"/>
    <dgm:cxn modelId="{2E5302D6-4F89-46CA-A354-4B1662CBBD66}" type="presParOf" srcId="{0C11ADB9-7472-4F90-8306-6DD6B2677F1C}" destId="{743DBB9E-CD2A-4AC9-BC34-9C569684BCD7}" srcOrd="0" destOrd="0" presId="urn:microsoft.com/office/officeart/2005/8/layout/vList5"/>
    <dgm:cxn modelId="{FCDBC33D-1ECE-41D1-99E8-9C46B57F1151}" type="presParOf" srcId="{743DBB9E-CD2A-4AC9-BC34-9C569684BCD7}" destId="{DEE9F56D-9B37-4C2F-9DD4-17809C6C5721}" srcOrd="0" destOrd="0" presId="urn:microsoft.com/office/officeart/2005/8/layout/vList5"/>
    <dgm:cxn modelId="{25999149-AAA9-4042-980A-C779C72BAD5B}" type="presParOf" srcId="{743DBB9E-CD2A-4AC9-BC34-9C569684BCD7}" destId="{2B221EE7-42D4-4D74-8165-8222536F2856}" srcOrd="1" destOrd="0" presId="urn:microsoft.com/office/officeart/2005/8/layout/vList5"/>
    <dgm:cxn modelId="{62281569-1FCB-4B10-83D9-0BD8CAD898D3}" type="presParOf" srcId="{0C11ADB9-7472-4F90-8306-6DD6B2677F1C}" destId="{35A838A3-FD4F-4A17-B494-5AFA22981911}" srcOrd="1" destOrd="0" presId="urn:microsoft.com/office/officeart/2005/8/layout/vList5"/>
    <dgm:cxn modelId="{78CBF6CC-8E62-498E-86BD-05481A135CD9}" type="presParOf" srcId="{0C11ADB9-7472-4F90-8306-6DD6B2677F1C}" destId="{8C758EE1-2CA1-429F-B90F-BA3FC2A38391}" srcOrd="2" destOrd="0" presId="urn:microsoft.com/office/officeart/2005/8/layout/vList5"/>
    <dgm:cxn modelId="{FF8321F9-21F0-42C8-A705-519618EC202D}" type="presParOf" srcId="{8C758EE1-2CA1-429F-B90F-BA3FC2A38391}" destId="{F9252853-3E74-4FF0-9A5E-67D5CAE8636B}" srcOrd="0" destOrd="0" presId="urn:microsoft.com/office/officeart/2005/8/layout/vList5"/>
    <dgm:cxn modelId="{E23A8887-D74B-4177-B134-058E29D3B39B}" type="presParOf" srcId="{8C758EE1-2CA1-429F-B90F-BA3FC2A38391}" destId="{3674C425-8CC7-40AC-B5DA-6EF5B90BEBD4}" srcOrd="1" destOrd="0" presId="urn:microsoft.com/office/officeart/2005/8/layout/vList5"/>
    <dgm:cxn modelId="{7F590F0B-BB6A-4379-B2EB-8F416CED029B}" type="presParOf" srcId="{0C11ADB9-7472-4F90-8306-6DD6B2677F1C}" destId="{D2F9C2EA-9723-49B9-B2C9-EA0784535A3C}" srcOrd="3" destOrd="0" presId="urn:microsoft.com/office/officeart/2005/8/layout/vList5"/>
    <dgm:cxn modelId="{D04ABD6F-77D7-4D8A-A3D2-D296A38F2C05}" type="presParOf" srcId="{0C11ADB9-7472-4F90-8306-6DD6B2677F1C}" destId="{21F82906-E5F3-4C1B-8127-F3E73D4B7A3B}" srcOrd="4" destOrd="0" presId="urn:microsoft.com/office/officeart/2005/8/layout/vList5"/>
    <dgm:cxn modelId="{D1279484-7FF0-4434-81D4-88BB477C637E}" type="presParOf" srcId="{21F82906-E5F3-4C1B-8127-F3E73D4B7A3B}" destId="{D3C4F50C-3DD5-4F7B-BD89-1E985392BCD6}" srcOrd="0" destOrd="0" presId="urn:microsoft.com/office/officeart/2005/8/layout/vList5"/>
    <dgm:cxn modelId="{AF89B88B-82DD-4DD0-A0A0-FDEB1085901F}" type="presParOf" srcId="{21F82906-E5F3-4C1B-8127-F3E73D4B7A3B}" destId="{E773795B-AFEF-41F5-9DBB-8432F78C1976}" srcOrd="1" destOrd="0" presId="urn:microsoft.com/office/officeart/2005/8/layout/vList5"/>
    <dgm:cxn modelId="{14792C03-2402-4991-BF02-6884ECED878B}" type="presParOf" srcId="{0C11ADB9-7472-4F90-8306-6DD6B2677F1C}" destId="{40322974-3051-42C8-B204-21B9FB71A3C3}" srcOrd="5" destOrd="0" presId="urn:microsoft.com/office/officeart/2005/8/layout/vList5"/>
    <dgm:cxn modelId="{11DFC955-E130-45B2-9D6B-A8CE3C7EFA74}" type="presParOf" srcId="{0C11ADB9-7472-4F90-8306-6DD6B2677F1C}" destId="{71E6D1FF-6426-4049-BBFE-438440A6FD59}" srcOrd="6" destOrd="0" presId="urn:microsoft.com/office/officeart/2005/8/layout/vList5"/>
    <dgm:cxn modelId="{F5B71099-657D-46B2-A67D-322964B5D36F}" type="presParOf" srcId="{71E6D1FF-6426-4049-BBFE-438440A6FD59}" destId="{D79A2F63-1DEE-48CE-979E-E6D72CFBA60E}" srcOrd="0" destOrd="0" presId="urn:microsoft.com/office/officeart/2005/8/layout/vList5"/>
    <dgm:cxn modelId="{E21081E3-D3C3-49EF-A4BF-284852467AF0}" type="presParOf" srcId="{71E6D1FF-6426-4049-BBFE-438440A6FD59}" destId="{A3B0898E-B3CF-435F-A7D2-35998824D230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EDD11825-6C43-49CB-A439-01DA82DA6568}" type="doc">
      <dgm:prSet loTypeId="urn:microsoft.com/office/officeart/2005/8/layout/hChevron3" loCatId="process" qsTypeId="urn:microsoft.com/office/officeart/2005/8/quickstyle/simple1" qsCatId="simple" csTypeId="urn:microsoft.com/office/officeart/2005/8/colors/colorful5" csCatId="colorful" phldr="1"/>
      <dgm:spPr/>
    </dgm:pt>
    <dgm:pt modelId="{28EEA20D-D6F0-4294-970E-4B507FA61365}">
      <dgm:prSet phldrT="[Text]" custT="1"/>
      <dgm:spPr/>
      <dgm:t>
        <a:bodyPr/>
        <a:lstStyle/>
        <a:p>
          <a:r>
            <a:rPr lang="en-GB" sz="1800" smtClean="0">
              <a:solidFill>
                <a:schemeClr val="bg2">
                  <a:lumMod val="50000"/>
                </a:schemeClr>
              </a:solidFill>
            </a:rPr>
            <a:t>Wave 1 (Pilot)</a:t>
          </a:r>
          <a:endParaRPr lang="en-US" sz="1800" dirty="0">
            <a:solidFill>
              <a:schemeClr val="bg2">
                <a:lumMod val="50000"/>
              </a:schemeClr>
            </a:solidFill>
          </a:endParaRPr>
        </a:p>
      </dgm:t>
    </dgm:pt>
    <dgm:pt modelId="{717350C7-413C-47E2-B9C1-6611213EAEFA}" type="parTrans" cxnId="{B899CA6D-EBBD-40C7-8D8F-175C31B40DCC}">
      <dgm:prSet/>
      <dgm:spPr/>
      <dgm:t>
        <a:bodyPr/>
        <a:lstStyle/>
        <a:p>
          <a:endParaRPr lang="en-US" sz="1100"/>
        </a:p>
      </dgm:t>
    </dgm:pt>
    <dgm:pt modelId="{A7623A9F-60F8-4273-9B2C-7196EBB2C40A}" type="sibTrans" cxnId="{B899CA6D-EBBD-40C7-8D8F-175C31B40DCC}">
      <dgm:prSet/>
      <dgm:spPr/>
      <dgm:t>
        <a:bodyPr/>
        <a:lstStyle/>
        <a:p>
          <a:endParaRPr lang="en-US" sz="1100"/>
        </a:p>
      </dgm:t>
    </dgm:pt>
    <dgm:pt modelId="{A9E0E6C7-C87F-407F-933E-863EFF121126}">
      <dgm:prSet phldrT="[Text]" custT="1"/>
      <dgm:spPr/>
      <dgm:t>
        <a:bodyPr/>
        <a:lstStyle/>
        <a:p>
          <a:r>
            <a:rPr lang="en-GB" sz="1800" dirty="0" smtClean="0"/>
            <a:t>Wave 2</a:t>
          </a:r>
          <a:endParaRPr lang="en-US" sz="1800" dirty="0"/>
        </a:p>
      </dgm:t>
    </dgm:pt>
    <dgm:pt modelId="{C190394F-69FF-4BD7-80EB-2CAFBB7AA5AE}" type="parTrans" cxnId="{9478DB45-E5E3-44BF-8483-3F995A167F73}">
      <dgm:prSet/>
      <dgm:spPr/>
      <dgm:t>
        <a:bodyPr/>
        <a:lstStyle/>
        <a:p>
          <a:endParaRPr lang="en-US" sz="1100"/>
        </a:p>
      </dgm:t>
    </dgm:pt>
    <dgm:pt modelId="{B710A0BB-46B6-456B-826D-55C91C3F96F5}" type="sibTrans" cxnId="{9478DB45-E5E3-44BF-8483-3F995A167F73}">
      <dgm:prSet/>
      <dgm:spPr/>
      <dgm:t>
        <a:bodyPr/>
        <a:lstStyle/>
        <a:p>
          <a:endParaRPr lang="en-US" sz="1100"/>
        </a:p>
      </dgm:t>
    </dgm:pt>
    <dgm:pt modelId="{D485C978-97F7-4613-BF11-688686416BC6}">
      <dgm:prSet phldrT="[Text]" custT="1"/>
      <dgm:spPr/>
      <dgm:t>
        <a:bodyPr/>
        <a:lstStyle/>
        <a:p>
          <a:r>
            <a:rPr lang="en-GB" sz="1800" dirty="0" smtClean="0"/>
            <a:t>Wave 3</a:t>
          </a:r>
          <a:endParaRPr lang="en-US" sz="1800" dirty="0"/>
        </a:p>
      </dgm:t>
    </dgm:pt>
    <dgm:pt modelId="{49ED2777-4DD7-4FC3-ADDD-A5F0981C7945}" type="parTrans" cxnId="{E7230396-7E18-4F5E-A8E0-59CA0DF83449}">
      <dgm:prSet/>
      <dgm:spPr/>
      <dgm:t>
        <a:bodyPr/>
        <a:lstStyle/>
        <a:p>
          <a:endParaRPr lang="en-US" sz="1100"/>
        </a:p>
      </dgm:t>
    </dgm:pt>
    <dgm:pt modelId="{2A7D9698-3D9C-46A3-A359-8B81433E4631}" type="sibTrans" cxnId="{E7230396-7E18-4F5E-A8E0-59CA0DF83449}">
      <dgm:prSet/>
      <dgm:spPr/>
      <dgm:t>
        <a:bodyPr/>
        <a:lstStyle/>
        <a:p>
          <a:endParaRPr lang="en-US" sz="1100"/>
        </a:p>
      </dgm:t>
    </dgm:pt>
    <dgm:pt modelId="{DD0C419E-6F54-42E7-81EF-EAD0AACB9DB3}">
      <dgm:prSet phldrT="[Text]" custT="1"/>
      <dgm:spPr/>
      <dgm:t>
        <a:bodyPr/>
        <a:lstStyle/>
        <a:p>
          <a:r>
            <a:rPr lang="en-GB" sz="1800" dirty="0" smtClean="0"/>
            <a:t>Wave 4</a:t>
          </a:r>
          <a:endParaRPr lang="en-US" sz="1800" dirty="0"/>
        </a:p>
      </dgm:t>
    </dgm:pt>
    <dgm:pt modelId="{2F91B5A9-C0DE-4020-A51F-EA212B1B69AB}" type="parTrans" cxnId="{6B890294-41A6-4605-B902-8D5885D24776}">
      <dgm:prSet/>
      <dgm:spPr/>
      <dgm:t>
        <a:bodyPr/>
        <a:lstStyle/>
        <a:p>
          <a:endParaRPr lang="en-US" sz="1100"/>
        </a:p>
      </dgm:t>
    </dgm:pt>
    <dgm:pt modelId="{153906E1-E8EC-4DA9-8A1D-6392FE351F0A}" type="sibTrans" cxnId="{6B890294-41A6-4605-B902-8D5885D24776}">
      <dgm:prSet/>
      <dgm:spPr/>
      <dgm:t>
        <a:bodyPr/>
        <a:lstStyle/>
        <a:p>
          <a:endParaRPr lang="en-US" sz="1100"/>
        </a:p>
      </dgm:t>
    </dgm:pt>
    <dgm:pt modelId="{CD430E7B-D92E-4B02-A62B-2F0369039F0B}" type="pres">
      <dgm:prSet presAssocID="{EDD11825-6C43-49CB-A439-01DA82DA6568}" presName="Name0" presStyleCnt="0">
        <dgm:presLayoutVars>
          <dgm:dir/>
          <dgm:resizeHandles val="exact"/>
        </dgm:presLayoutVars>
      </dgm:prSet>
      <dgm:spPr/>
    </dgm:pt>
    <dgm:pt modelId="{E5829E3B-D498-44A9-A891-336E611EECEA}" type="pres">
      <dgm:prSet presAssocID="{28EEA20D-D6F0-4294-970E-4B507FA61365}" presName="parTxOnly" presStyleLbl="node1" presStyleIdx="0" presStyleCnt="4" custLinFactNeighborX="-25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1E4C01B-BF0E-48CD-952C-8BEA2EAC351B}" type="pres">
      <dgm:prSet presAssocID="{A7623A9F-60F8-4273-9B2C-7196EBB2C40A}" presName="parSpace" presStyleCnt="0"/>
      <dgm:spPr/>
    </dgm:pt>
    <dgm:pt modelId="{06679A4D-DC4C-421E-A8D1-29FA90BA51E2}" type="pres">
      <dgm:prSet presAssocID="{A9E0E6C7-C87F-407F-933E-863EFF121126}" presName="parTxOnly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44D42D-68A3-43F3-9550-76F2A548963F}" type="pres">
      <dgm:prSet presAssocID="{B710A0BB-46B6-456B-826D-55C91C3F96F5}" presName="parSpace" presStyleCnt="0"/>
      <dgm:spPr/>
    </dgm:pt>
    <dgm:pt modelId="{504CCA25-8EB1-494F-9862-B188DC1FAA43}" type="pres">
      <dgm:prSet presAssocID="{D485C978-97F7-4613-BF11-688686416BC6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5E0BFF4-A753-4378-BB28-DFF82DF68E7B}" type="pres">
      <dgm:prSet presAssocID="{2A7D9698-3D9C-46A3-A359-8B81433E4631}" presName="parSpace" presStyleCnt="0"/>
      <dgm:spPr/>
    </dgm:pt>
    <dgm:pt modelId="{88CB703C-5242-4DA5-A4CD-5DC394975636}" type="pres">
      <dgm:prSet presAssocID="{DD0C419E-6F54-42E7-81EF-EAD0AACB9DB3}" presName="parTxOnly" presStyleLbl="node1" presStyleIdx="3" presStyleCnt="4" custLinFactNeighborX="498" custLinFactNeighborY="257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3B18076-8D7F-4630-BAB0-1F423D195404}" type="presOf" srcId="{EDD11825-6C43-49CB-A439-01DA82DA6568}" destId="{CD430E7B-D92E-4B02-A62B-2F0369039F0B}" srcOrd="0" destOrd="0" presId="urn:microsoft.com/office/officeart/2005/8/layout/hChevron3"/>
    <dgm:cxn modelId="{E7230396-7E18-4F5E-A8E0-59CA0DF83449}" srcId="{EDD11825-6C43-49CB-A439-01DA82DA6568}" destId="{D485C978-97F7-4613-BF11-688686416BC6}" srcOrd="2" destOrd="0" parTransId="{49ED2777-4DD7-4FC3-ADDD-A5F0981C7945}" sibTransId="{2A7D9698-3D9C-46A3-A359-8B81433E4631}"/>
    <dgm:cxn modelId="{9478DB45-E5E3-44BF-8483-3F995A167F73}" srcId="{EDD11825-6C43-49CB-A439-01DA82DA6568}" destId="{A9E0E6C7-C87F-407F-933E-863EFF121126}" srcOrd="1" destOrd="0" parTransId="{C190394F-69FF-4BD7-80EB-2CAFBB7AA5AE}" sibTransId="{B710A0BB-46B6-456B-826D-55C91C3F96F5}"/>
    <dgm:cxn modelId="{0DCA8004-C184-4DB3-9370-E744E9D4C6D9}" type="presOf" srcId="{D485C978-97F7-4613-BF11-688686416BC6}" destId="{504CCA25-8EB1-494F-9862-B188DC1FAA43}" srcOrd="0" destOrd="0" presId="urn:microsoft.com/office/officeart/2005/8/layout/hChevron3"/>
    <dgm:cxn modelId="{6B890294-41A6-4605-B902-8D5885D24776}" srcId="{EDD11825-6C43-49CB-A439-01DA82DA6568}" destId="{DD0C419E-6F54-42E7-81EF-EAD0AACB9DB3}" srcOrd="3" destOrd="0" parTransId="{2F91B5A9-C0DE-4020-A51F-EA212B1B69AB}" sibTransId="{153906E1-E8EC-4DA9-8A1D-6392FE351F0A}"/>
    <dgm:cxn modelId="{B899CA6D-EBBD-40C7-8D8F-175C31B40DCC}" srcId="{EDD11825-6C43-49CB-A439-01DA82DA6568}" destId="{28EEA20D-D6F0-4294-970E-4B507FA61365}" srcOrd="0" destOrd="0" parTransId="{717350C7-413C-47E2-B9C1-6611213EAEFA}" sibTransId="{A7623A9F-60F8-4273-9B2C-7196EBB2C40A}"/>
    <dgm:cxn modelId="{3CEF2703-0581-4E4B-BAE8-E5368AB4F43C}" type="presOf" srcId="{28EEA20D-D6F0-4294-970E-4B507FA61365}" destId="{E5829E3B-D498-44A9-A891-336E611EECEA}" srcOrd="0" destOrd="0" presId="urn:microsoft.com/office/officeart/2005/8/layout/hChevron3"/>
    <dgm:cxn modelId="{15E684A9-CBEE-473E-998E-5EF94E888C10}" type="presOf" srcId="{A9E0E6C7-C87F-407F-933E-863EFF121126}" destId="{06679A4D-DC4C-421E-A8D1-29FA90BA51E2}" srcOrd="0" destOrd="0" presId="urn:microsoft.com/office/officeart/2005/8/layout/hChevron3"/>
    <dgm:cxn modelId="{12D32556-F8FA-4A3C-9454-443FD157CDE8}" type="presOf" srcId="{DD0C419E-6F54-42E7-81EF-EAD0AACB9DB3}" destId="{88CB703C-5242-4DA5-A4CD-5DC394975636}" srcOrd="0" destOrd="0" presId="urn:microsoft.com/office/officeart/2005/8/layout/hChevron3"/>
    <dgm:cxn modelId="{A24642FE-BFD6-4210-8572-8F0DFAD32E78}" type="presParOf" srcId="{CD430E7B-D92E-4B02-A62B-2F0369039F0B}" destId="{E5829E3B-D498-44A9-A891-336E611EECEA}" srcOrd="0" destOrd="0" presId="urn:microsoft.com/office/officeart/2005/8/layout/hChevron3"/>
    <dgm:cxn modelId="{70A3FE34-E063-4439-9736-763644B1DF62}" type="presParOf" srcId="{CD430E7B-D92E-4B02-A62B-2F0369039F0B}" destId="{A1E4C01B-BF0E-48CD-952C-8BEA2EAC351B}" srcOrd="1" destOrd="0" presId="urn:microsoft.com/office/officeart/2005/8/layout/hChevron3"/>
    <dgm:cxn modelId="{9B8836EC-B1CE-48C1-9F34-6C5872A9C0F6}" type="presParOf" srcId="{CD430E7B-D92E-4B02-A62B-2F0369039F0B}" destId="{06679A4D-DC4C-421E-A8D1-29FA90BA51E2}" srcOrd="2" destOrd="0" presId="urn:microsoft.com/office/officeart/2005/8/layout/hChevron3"/>
    <dgm:cxn modelId="{AAC41E01-36B8-4755-A130-7C75A70C554F}" type="presParOf" srcId="{CD430E7B-D92E-4B02-A62B-2F0369039F0B}" destId="{0844D42D-68A3-43F3-9550-76F2A548963F}" srcOrd="3" destOrd="0" presId="urn:microsoft.com/office/officeart/2005/8/layout/hChevron3"/>
    <dgm:cxn modelId="{A66B6A35-7552-476C-BCAE-62813865F022}" type="presParOf" srcId="{CD430E7B-D92E-4B02-A62B-2F0369039F0B}" destId="{504CCA25-8EB1-494F-9862-B188DC1FAA43}" srcOrd="4" destOrd="0" presId="urn:microsoft.com/office/officeart/2005/8/layout/hChevron3"/>
    <dgm:cxn modelId="{28E57FE8-5F0D-426B-AEE2-8001D82E5705}" type="presParOf" srcId="{CD430E7B-D92E-4B02-A62B-2F0369039F0B}" destId="{75E0BFF4-A753-4378-BB28-DFF82DF68E7B}" srcOrd="5" destOrd="0" presId="urn:microsoft.com/office/officeart/2005/8/layout/hChevron3"/>
    <dgm:cxn modelId="{D703FB26-34BD-4803-8CF7-5C30B4966F0C}" type="presParOf" srcId="{CD430E7B-D92E-4B02-A62B-2F0369039F0B}" destId="{88CB703C-5242-4DA5-A4CD-5DC394975636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E63B3902-E416-4C5B-AF43-EA7A204891D1}" type="doc">
      <dgm:prSet loTypeId="urn:microsoft.com/office/officeart/2005/8/layout/process4" loCatId="list" qsTypeId="urn:microsoft.com/office/officeart/2005/8/quickstyle/simple3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5C1DF087-FBB3-403A-8CF7-D012CA9B52FE}">
      <dgm:prSet phldrT="[Text]"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00B050"/>
          </a:solidFill>
        </a:ln>
      </dgm:spPr>
      <dgm:t>
        <a:bodyPr/>
        <a:lstStyle/>
        <a:p>
          <a:r>
            <a:rPr lang="en-US" sz="1100" dirty="0" smtClean="0"/>
            <a:t>Source Code management</a:t>
          </a:r>
          <a:endParaRPr lang="en-US" sz="1100" dirty="0"/>
        </a:p>
      </dgm:t>
    </dgm:pt>
    <dgm:pt modelId="{D699B579-5C7A-4218-BDB7-0B771BEDB820}" type="parTrans" cxnId="{09D1410D-C768-4792-99D4-D0850D694E21}">
      <dgm:prSet/>
      <dgm:spPr/>
      <dgm:t>
        <a:bodyPr/>
        <a:lstStyle/>
        <a:p>
          <a:endParaRPr lang="en-US" sz="1100"/>
        </a:p>
      </dgm:t>
    </dgm:pt>
    <dgm:pt modelId="{9D2CB7B9-895A-480C-9E80-8B95369020D0}" type="sibTrans" cxnId="{09D1410D-C768-4792-99D4-D0850D694E21}">
      <dgm:prSet/>
      <dgm:spPr/>
      <dgm:t>
        <a:bodyPr/>
        <a:lstStyle/>
        <a:p>
          <a:endParaRPr lang="en-US" sz="1100"/>
        </a:p>
      </dgm:t>
    </dgm:pt>
    <dgm:pt modelId="{E059CC8F-8B93-44D7-8EA4-4A87A9923542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00B050"/>
          </a:solidFill>
        </a:ln>
      </dgm:spPr>
      <dgm:t>
        <a:bodyPr/>
        <a:lstStyle/>
        <a:p>
          <a:r>
            <a:rPr lang="en-US" sz="1100" dirty="0" smtClean="0"/>
            <a:t>Continuous Integration</a:t>
          </a:r>
          <a:endParaRPr lang="en-US" sz="1100" dirty="0"/>
        </a:p>
      </dgm:t>
    </dgm:pt>
    <dgm:pt modelId="{5572FDC8-E1C0-4E3E-9C1C-80847537BA96}" type="parTrans" cxnId="{739BE3F5-12D6-4D4B-A72C-B5F68E4E3073}">
      <dgm:prSet/>
      <dgm:spPr/>
      <dgm:t>
        <a:bodyPr/>
        <a:lstStyle/>
        <a:p>
          <a:endParaRPr lang="en-US"/>
        </a:p>
      </dgm:t>
    </dgm:pt>
    <dgm:pt modelId="{2A29FEA2-0CED-485C-88C0-A05BBB2DF194}" type="sibTrans" cxnId="{739BE3F5-12D6-4D4B-A72C-B5F68E4E3073}">
      <dgm:prSet/>
      <dgm:spPr/>
      <dgm:t>
        <a:bodyPr/>
        <a:lstStyle/>
        <a:p>
          <a:endParaRPr lang="en-US"/>
        </a:p>
      </dgm:t>
    </dgm:pt>
    <dgm:pt modelId="{A5A94484-A0D7-4248-BFAF-F525FA3B24FE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00B050"/>
          </a:solidFill>
        </a:ln>
      </dgm:spPr>
      <dgm:t>
        <a:bodyPr/>
        <a:lstStyle/>
        <a:p>
          <a:r>
            <a:rPr lang="en-US" sz="1100" dirty="0" smtClean="0"/>
            <a:t>Automated Deployments</a:t>
          </a:r>
          <a:endParaRPr lang="en-US" sz="1100" dirty="0"/>
        </a:p>
      </dgm:t>
    </dgm:pt>
    <dgm:pt modelId="{2AE5F581-78CA-4CED-B43A-D65A7DF500DF}" type="parTrans" cxnId="{470A0935-0684-42D8-A3F8-5D87CC380A86}">
      <dgm:prSet/>
      <dgm:spPr/>
      <dgm:t>
        <a:bodyPr/>
        <a:lstStyle/>
        <a:p>
          <a:endParaRPr lang="en-US"/>
        </a:p>
      </dgm:t>
    </dgm:pt>
    <dgm:pt modelId="{6CA6F13D-1F72-4854-8F4E-BD863F762FF2}" type="sibTrans" cxnId="{470A0935-0684-42D8-A3F8-5D87CC380A86}">
      <dgm:prSet/>
      <dgm:spPr/>
      <dgm:t>
        <a:bodyPr/>
        <a:lstStyle/>
        <a:p>
          <a:endParaRPr lang="en-US"/>
        </a:p>
      </dgm:t>
    </dgm:pt>
    <dgm:pt modelId="{FC783153-AF29-4BBD-B46C-4A69CBCE0AD7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00B050"/>
          </a:solidFill>
        </a:ln>
      </dgm:spPr>
      <dgm:t>
        <a:bodyPr/>
        <a:lstStyle/>
        <a:p>
          <a:r>
            <a:rPr lang="en-US" sz="1100" dirty="0" smtClean="0"/>
            <a:t>Service </a:t>
          </a:r>
          <a:r>
            <a:rPr lang="en-US" sz="1100" dirty="0" err="1" smtClean="0"/>
            <a:t>Virtualisation</a:t>
          </a:r>
          <a:endParaRPr lang="en-US" sz="1100" dirty="0"/>
        </a:p>
      </dgm:t>
    </dgm:pt>
    <dgm:pt modelId="{A51FEF72-0015-4C91-BDAA-1CEBF11497D0}" type="parTrans" cxnId="{773054B8-BC55-4252-8391-6B49F62BC950}">
      <dgm:prSet/>
      <dgm:spPr/>
      <dgm:t>
        <a:bodyPr/>
        <a:lstStyle/>
        <a:p>
          <a:endParaRPr lang="en-US"/>
        </a:p>
      </dgm:t>
    </dgm:pt>
    <dgm:pt modelId="{0504366D-655D-4BCA-9D1E-76C53922CC18}" type="sibTrans" cxnId="{773054B8-BC55-4252-8391-6B49F62BC950}">
      <dgm:prSet/>
      <dgm:spPr/>
      <dgm:t>
        <a:bodyPr/>
        <a:lstStyle/>
        <a:p>
          <a:endParaRPr lang="en-US"/>
        </a:p>
      </dgm:t>
    </dgm:pt>
    <dgm:pt modelId="{3F6C5A95-74C1-44B9-AC6F-055F53BBC881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00B050"/>
          </a:solidFill>
        </a:ln>
      </dgm:spPr>
      <dgm:t>
        <a:bodyPr/>
        <a:lstStyle/>
        <a:p>
          <a:r>
            <a:rPr lang="en-US" sz="1100" dirty="0" smtClean="0"/>
            <a:t>Requirements Management</a:t>
          </a:r>
          <a:endParaRPr lang="en-US" sz="1100" dirty="0"/>
        </a:p>
      </dgm:t>
    </dgm:pt>
    <dgm:pt modelId="{5C798552-140A-44E4-BBC8-99A5FE280950}" type="parTrans" cxnId="{FBE9D4C7-BE5A-406C-BEEA-E9EEDE7166D2}">
      <dgm:prSet/>
      <dgm:spPr/>
      <dgm:t>
        <a:bodyPr/>
        <a:lstStyle/>
        <a:p>
          <a:endParaRPr lang="en-US"/>
        </a:p>
      </dgm:t>
    </dgm:pt>
    <dgm:pt modelId="{C6DBE0F3-76C1-42F1-A6CD-7940CA126E78}" type="sibTrans" cxnId="{FBE9D4C7-BE5A-406C-BEEA-E9EEDE7166D2}">
      <dgm:prSet/>
      <dgm:spPr/>
      <dgm:t>
        <a:bodyPr/>
        <a:lstStyle/>
        <a:p>
          <a:endParaRPr lang="en-US"/>
        </a:p>
      </dgm:t>
    </dgm:pt>
    <dgm:pt modelId="{18FBA1D7-702A-4410-A73F-EFCDA9B2FC37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00B050"/>
          </a:solidFill>
        </a:ln>
      </dgm:spPr>
      <dgm:t>
        <a:bodyPr/>
        <a:lstStyle/>
        <a:p>
          <a:r>
            <a:rPr lang="en-US" sz="1100" dirty="0" smtClean="0"/>
            <a:t>Automated Testing</a:t>
          </a:r>
          <a:endParaRPr lang="en-US" sz="1100" dirty="0"/>
        </a:p>
      </dgm:t>
    </dgm:pt>
    <dgm:pt modelId="{857414F3-95A3-459A-A80B-9C598F3032BB}" type="parTrans" cxnId="{D07B1D56-6685-4ACA-A282-A8755E7B1885}">
      <dgm:prSet/>
      <dgm:spPr/>
      <dgm:t>
        <a:bodyPr/>
        <a:lstStyle/>
        <a:p>
          <a:endParaRPr lang="en-US"/>
        </a:p>
      </dgm:t>
    </dgm:pt>
    <dgm:pt modelId="{D6B7F930-F681-431F-84AD-54F9CB4FA7C9}" type="sibTrans" cxnId="{D07B1D56-6685-4ACA-A282-A8755E7B1885}">
      <dgm:prSet/>
      <dgm:spPr/>
      <dgm:t>
        <a:bodyPr/>
        <a:lstStyle/>
        <a:p>
          <a:endParaRPr lang="en-US"/>
        </a:p>
      </dgm:t>
    </dgm:pt>
    <dgm:pt modelId="{56BB26EE-2D1A-42A0-8FC2-7460DEC58A7A}" type="pres">
      <dgm:prSet presAssocID="{E63B3902-E416-4C5B-AF43-EA7A204891D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5172C3F-4732-4B70-A590-CE0EDDA2C984}" type="pres">
      <dgm:prSet presAssocID="{18FBA1D7-702A-4410-A73F-EFCDA9B2FC37}" presName="boxAndChildren" presStyleCnt="0"/>
      <dgm:spPr/>
    </dgm:pt>
    <dgm:pt modelId="{59F35799-7B2D-46A8-917C-441B97053FBC}" type="pres">
      <dgm:prSet presAssocID="{18FBA1D7-702A-4410-A73F-EFCDA9B2FC37}" presName="parentTextBox" presStyleLbl="node1" presStyleIdx="0" presStyleCnt="6"/>
      <dgm:spPr/>
      <dgm:t>
        <a:bodyPr/>
        <a:lstStyle/>
        <a:p>
          <a:endParaRPr lang="en-US"/>
        </a:p>
      </dgm:t>
    </dgm:pt>
    <dgm:pt modelId="{BFD37F9C-00C8-40ED-B148-F16F83B6FAF9}" type="pres">
      <dgm:prSet presAssocID="{0504366D-655D-4BCA-9D1E-76C53922CC18}" presName="sp" presStyleCnt="0"/>
      <dgm:spPr/>
    </dgm:pt>
    <dgm:pt modelId="{1F1B3E0E-2BF3-42E3-9B3F-EC2B7ECDC0DF}" type="pres">
      <dgm:prSet presAssocID="{FC783153-AF29-4BBD-B46C-4A69CBCE0AD7}" presName="arrowAndChildren" presStyleCnt="0"/>
      <dgm:spPr/>
    </dgm:pt>
    <dgm:pt modelId="{EDB1AE90-2190-4598-B94D-DAF29DF40908}" type="pres">
      <dgm:prSet presAssocID="{FC783153-AF29-4BBD-B46C-4A69CBCE0AD7}" presName="parentTextArrow" presStyleLbl="node1" presStyleIdx="1" presStyleCnt="6"/>
      <dgm:spPr/>
      <dgm:t>
        <a:bodyPr/>
        <a:lstStyle/>
        <a:p>
          <a:endParaRPr lang="en-US"/>
        </a:p>
      </dgm:t>
    </dgm:pt>
    <dgm:pt modelId="{06007EB0-742D-4688-88D1-C2EC160355AC}" type="pres">
      <dgm:prSet presAssocID="{6CA6F13D-1F72-4854-8F4E-BD863F762FF2}" presName="sp" presStyleCnt="0"/>
      <dgm:spPr/>
    </dgm:pt>
    <dgm:pt modelId="{F7F17886-C9E1-4676-815C-DE8944072050}" type="pres">
      <dgm:prSet presAssocID="{A5A94484-A0D7-4248-BFAF-F525FA3B24FE}" presName="arrowAndChildren" presStyleCnt="0"/>
      <dgm:spPr/>
    </dgm:pt>
    <dgm:pt modelId="{BEF5F80E-B7F7-44B7-A0EE-5D2B305723AE}" type="pres">
      <dgm:prSet presAssocID="{A5A94484-A0D7-4248-BFAF-F525FA3B24FE}" presName="parentTextArrow" presStyleLbl="node1" presStyleIdx="2" presStyleCnt="6"/>
      <dgm:spPr/>
      <dgm:t>
        <a:bodyPr/>
        <a:lstStyle/>
        <a:p>
          <a:endParaRPr lang="en-US"/>
        </a:p>
      </dgm:t>
    </dgm:pt>
    <dgm:pt modelId="{BDA5876D-BB3B-44E0-8B55-D71755B3D3A6}" type="pres">
      <dgm:prSet presAssocID="{2A29FEA2-0CED-485C-88C0-A05BBB2DF194}" presName="sp" presStyleCnt="0"/>
      <dgm:spPr/>
    </dgm:pt>
    <dgm:pt modelId="{37D1D6F5-9492-41E9-A03B-E3D57C33F701}" type="pres">
      <dgm:prSet presAssocID="{E059CC8F-8B93-44D7-8EA4-4A87A9923542}" presName="arrowAndChildren" presStyleCnt="0"/>
      <dgm:spPr/>
    </dgm:pt>
    <dgm:pt modelId="{36097834-439F-445A-A3E9-79C8B0B3CA2A}" type="pres">
      <dgm:prSet presAssocID="{E059CC8F-8B93-44D7-8EA4-4A87A9923542}" presName="parentTextArrow" presStyleLbl="node1" presStyleIdx="3" presStyleCnt="6"/>
      <dgm:spPr/>
      <dgm:t>
        <a:bodyPr/>
        <a:lstStyle/>
        <a:p>
          <a:endParaRPr lang="en-US"/>
        </a:p>
      </dgm:t>
    </dgm:pt>
    <dgm:pt modelId="{28656B02-BFA1-4520-BAA9-B4FCAEC2EC96}" type="pres">
      <dgm:prSet presAssocID="{9D2CB7B9-895A-480C-9E80-8B95369020D0}" presName="sp" presStyleCnt="0"/>
      <dgm:spPr/>
    </dgm:pt>
    <dgm:pt modelId="{8DA316FC-D30F-426F-A734-0371424D353F}" type="pres">
      <dgm:prSet presAssocID="{5C1DF087-FBB3-403A-8CF7-D012CA9B52FE}" presName="arrowAndChildren" presStyleCnt="0"/>
      <dgm:spPr/>
    </dgm:pt>
    <dgm:pt modelId="{D67D1EA6-2451-4AFB-A239-B5AFEFDB8815}" type="pres">
      <dgm:prSet presAssocID="{5C1DF087-FBB3-403A-8CF7-D012CA9B52FE}" presName="parentTextArrow" presStyleLbl="node1" presStyleIdx="4" presStyleCnt="6" custLinFactNeighborX="-459"/>
      <dgm:spPr/>
      <dgm:t>
        <a:bodyPr/>
        <a:lstStyle/>
        <a:p>
          <a:endParaRPr lang="en-US"/>
        </a:p>
      </dgm:t>
    </dgm:pt>
    <dgm:pt modelId="{5BD7EEAB-97F1-4655-A9D0-5F6546FB544A}" type="pres">
      <dgm:prSet presAssocID="{C6DBE0F3-76C1-42F1-A6CD-7940CA126E78}" presName="sp" presStyleCnt="0"/>
      <dgm:spPr/>
    </dgm:pt>
    <dgm:pt modelId="{C5DC4E0C-63FC-4EE7-AC38-6C6ECA57FD67}" type="pres">
      <dgm:prSet presAssocID="{3F6C5A95-74C1-44B9-AC6F-055F53BBC881}" presName="arrowAndChildren" presStyleCnt="0"/>
      <dgm:spPr/>
    </dgm:pt>
    <dgm:pt modelId="{6E0B02CF-014A-4D62-831B-E811FCAD8009}" type="pres">
      <dgm:prSet presAssocID="{3F6C5A95-74C1-44B9-AC6F-055F53BBC881}" presName="parentTextArrow" presStyleLbl="node1" presStyleIdx="5" presStyleCnt="6"/>
      <dgm:spPr/>
      <dgm:t>
        <a:bodyPr/>
        <a:lstStyle/>
        <a:p>
          <a:endParaRPr lang="en-US"/>
        </a:p>
      </dgm:t>
    </dgm:pt>
  </dgm:ptLst>
  <dgm:cxnLst>
    <dgm:cxn modelId="{882E05B7-4134-41B7-B785-586ED8F32930}" type="presOf" srcId="{A5A94484-A0D7-4248-BFAF-F525FA3B24FE}" destId="{BEF5F80E-B7F7-44B7-A0EE-5D2B305723AE}" srcOrd="0" destOrd="0" presId="urn:microsoft.com/office/officeart/2005/8/layout/process4"/>
    <dgm:cxn modelId="{D51649AC-1272-44C4-A167-6FAA469AEEE1}" type="presOf" srcId="{18FBA1D7-702A-4410-A73F-EFCDA9B2FC37}" destId="{59F35799-7B2D-46A8-917C-441B97053FBC}" srcOrd="0" destOrd="0" presId="urn:microsoft.com/office/officeart/2005/8/layout/process4"/>
    <dgm:cxn modelId="{09D1410D-C768-4792-99D4-D0850D694E21}" srcId="{E63B3902-E416-4C5B-AF43-EA7A204891D1}" destId="{5C1DF087-FBB3-403A-8CF7-D012CA9B52FE}" srcOrd="1" destOrd="0" parTransId="{D699B579-5C7A-4218-BDB7-0B771BEDB820}" sibTransId="{9D2CB7B9-895A-480C-9E80-8B95369020D0}"/>
    <dgm:cxn modelId="{30179A2E-1F09-4E25-8684-25E8103C5D67}" type="presOf" srcId="{E059CC8F-8B93-44D7-8EA4-4A87A9923542}" destId="{36097834-439F-445A-A3E9-79C8B0B3CA2A}" srcOrd="0" destOrd="0" presId="urn:microsoft.com/office/officeart/2005/8/layout/process4"/>
    <dgm:cxn modelId="{651D8D4D-3F44-4916-A395-AE83B1BC24CE}" type="presOf" srcId="{E63B3902-E416-4C5B-AF43-EA7A204891D1}" destId="{56BB26EE-2D1A-42A0-8FC2-7460DEC58A7A}" srcOrd="0" destOrd="0" presId="urn:microsoft.com/office/officeart/2005/8/layout/process4"/>
    <dgm:cxn modelId="{739BE3F5-12D6-4D4B-A72C-B5F68E4E3073}" srcId="{E63B3902-E416-4C5B-AF43-EA7A204891D1}" destId="{E059CC8F-8B93-44D7-8EA4-4A87A9923542}" srcOrd="2" destOrd="0" parTransId="{5572FDC8-E1C0-4E3E-9C1C-80847537BA96}" sibTransId="{2A29FEA2-0CED-485C-88C0-A05BBB2DF194}"/>
    <dgm:cxn modelId="{D07B1D56-6685-4ACA-A282-A8755E7B1885}" srcId="{E63B3902-E416-4C5B-AF43-EA7A204891D1}" destId="{18FBA1D7-702A-4410-A73F-EFCDA9B2FC37}" srcOrd="5" destOrd="0" parTransId="{857414F3-95A3-459A-A80B-9C598F3032BB}" sibTransId="{D6B7F930-F681-431F-84AD-54F9CB4FA7C9}"/>
    <dgm:cxn modelId="{0578DC67-D71B-4D50-B74E-7D4C252BCFA7}" type="presOf" srcId="{FC783153-AF29-4BBD-B46C-4A69CBCE0AD7}" destId="{EDB1AE90-2190-4598-B94D-DAF29DF40908}" srcOrd="0" destOrd="0" presId="urn:microsoft.com/office/officeart/2005/8/layout/process4"/>
    <dgm:cxn modelId="{10085F30-D934-4F1A-9CA0-B28C2C7916BD}" type="presOf" srcId="{3F6C5A95-74C1-44B9-AC6F-055F53BBC881}" destId="{6E0B02CF-014A-4D62-831B-E811FCAD8009}" srcOrd="0" destOrd="0" presId="urn:microsoft.com/office/officeart/2005/8/layout/process4"/>
    <dgm:cxn modelId="{470A0935-0684-42D8-A3F8-5D87CC380A86}" srcId="{E63B3902-E416-4C5B-AF43-EA7A204891D1}" destId="{A5A94484-A0D7-4248-BFAF-F525FA3B24FE}" srcOrd="3" destOrd="0" parTransId="{2AE5F581-78CA-4CED-B43A-D65A7DF500DF}" sibTransId="{6CA6F13D-1F72-4854-8F4E-BD863F762FF2}"/>
    <dgm:cxn modelId="{E00A0EAB-3B83-45DF-8F01-3E068F9AA515}" type="presOf" srcId="{5C1DF087-FBB3-403A-8CF7-D012CA9B52FE}" destId="{D67D1EA6-2451-4AFB-A239-B5AFEFDB8815}" srcOrd="0" destOrd="0" presId="urn:microsoft.com/office/officeart/2005/8/layout/process4"/>
    <dgm:cxn modelId="{773054B8-BC55-4252-8391-6B49F62BC950}" srcId="{E63B3902-E416-4C5B-AF43-EA7A204891D1}" destId="{FC783153-AF29-4BBD-B46C-4A69CBCE0AD7}" srcOrd="4" destOrd="0" parTransId="{A51FEF72-0015-4C91-BDAA-1CEBF11497D0}" sibTransId="{0504366D-655D-4BCA-9D1E-76C53922CC18}"/>
    <dgm:cxn modelId="{FBE9D4C7-BE5A-406C-BEEA-E9EEDE7166D2}" srcId="{E63B3902-E416-4C5B-AF43-EA7A204891D1}" destId="{3F6C5A95-74C1-44B9-AC6F-055F53BBC881}" srcOrd="0" destOrd="0" parTransId="{5C798552-140A-44E4-BBC8-99A5FE280950}" sibTransId="{C6DBE0F3-76C1-42F1-A6CD-7940CA126E78}"/>
    <dgm:cxn modelId="{2E60E8B9-8D30-4487-80F4-08623FB08A92}" type="presParOf" srcId="{56BB26EE-2D1A-42A0-8FC2-7460DEC58A7A}" destId="{55172C3F-4732-4B70-A590-CE0EDDA2C984}" srcOrd="0" destOrd="0" presId="urn:microsoft.com/office/officeart/2005/8/layout/process4"/>
    <dgm:cxn modelId="{F9DADEE9-AE53-4DF7-B7CA-8EAAD623D059}" type="presParOf" srcId="{55172C3F-4732-4B70-A590-CE0EDDA2C984}" destId="{59F35799-7B2D-46A8-917C-441B97053FBC}" srcOrd="0" destOrd="0" presId="urn:microsoft.com/office/officeart/2005/8/layout/process4"/>
    <dgm:cxn modelId="{6FAE9378-EC99-4E9F-9DE9-0E0A5B5338FC}" type="presParOf" srcId="{56BB26EE-2D1A-42A0-8FC2-7460DEC58A7A}" destId="{BFD37F9C-00C8-40ED-B148-F16F83B6FAF9}" srcOrd="1" destOrd="0" presId="urn:microsoft.com/office/officeart/2005/8/layout/process4"/>
    <dgm:cxn modelId="{1BC8092D-0337-45AE-A30A-0C05F8AAE46A}" type="presParOf" srcId="{56BB26EE-2D1A-42A0-8FC2-7460DEC58A7A}" destId="{1F1B3E0E-2BF3-42E3-9B3F-EC2B7ECDC0DF}" srcOrd="2" destOrd="0" presId="urn:microsoft.com/office/officeart/2005/8/layout/process4"/>
    <dgm:cxn modelId="{A53107DF-7659-4143-B49C-05B033BA65DD}" type="presParOf" srcId="{1F1B3E0E-2BF3-42E3-9B3F-EC2B7ECDC0DF}" destId="{EDB1AE90-2190-4598-B94D-DAF29DF40908}" srcOrd="0" destOrd="0" presId="urn:microsoft.com/office/officeart/2005/8/layout/process4"/>
    <dgm:cxn modelId="{0541AD9F-4AE1-4A24-A6A7-09FA0BAC67A1}" type="presParOf" srcId="{56BB26EE-2D1A-42A0-8FC2-7460DEC58A7A}" destId="{06007EB0-742D-4688-88D1-C2EC160355AC}" srcOrd="3" destOrd="0" presId="urn:microsoft.com/office/officeart/2005/8/layout/process4"/>
    <dgm:cxn modelId="{2D96A380-6A90-46BB-A36D-33BDB6E2D913}" type="presParOf" srcId="{56BB26EE-2D1A-42A0-8FC2-7460DEC58A7A}" destId="{F7F17886-C9E1-4676-815C-DE8944072050}" srcOrd="4" destOrd="0" presId="urn:microsoft.com/office/officeart/2005/8/layout/process4"/>
    <dgm:cxn modelId="{11744ADC-7FB5-40F0-A432-6EA0CD86E408}" type="presParOf" srcId="{F7F17886-C9E1-4676-815C-DE8944072050}" destId="{BEF5F80E-B7F7-44B7-A0EE-5D2B305723AE}" srcOrd="0" destOrd="0" presId="urn:microsoft.com/office/officeart/2005/8/layout/process4"/>
    <dgm:cxn modelId="{55F5CF0A-F587-4906-A4A2-FA5A06B358EA}" type="presParOf" srcId="{56BB26EE-2D1A-42A0-8FC2-7460DEC58A7A}" destId="{BDA5876D-BB3B-44E0-8B55-D71755B3D3A6}" srcOrd="5" destOrd="0" presId="urn:microsoft.com/office/officeart/2005/8/layout/process4"/>
    <dgm:cxn modelId="{540719E1-BDBA-4E9D-8B7B-F70FE5E84D6E}" type="presParOf" srcId="{56BB26EE-2D1A-42A0-8FC2-7460DEC58A7A}" destId="{37D1D6F5-9492-41E9-A03B-E3D57C33F701}" srcOrd="6" destOrd="0" presId="urn:microsoft.com/office/officeart/2005/8/layout/process4"/>
    <dgm:cxn modelId="{806155F4-3747-4E7F-BBF6-3683849CBFB2}" type="presParOf" srcId="{37D1D6F5-9492-41E9-A03B-E3D57C33F701}" destId="{36097834-439F-445A-A3E9-79C8B0B3CA2A}" srcOrd="0" destOrd="0" presId="urn:microsoft.com/office/officeart/2005/8/layout/process4"/>
    <dgm:cxn modelId="{03BF4B04-5A44-405E-A9A9-0BD26C5F2E42}" type="presParOf" srcId="{56BB26EE-2D1A-42A0-8FC2-7460DEC58A7A}" destId="{28656B02-BFA1-4520-BAA9-B4FCAEC2EC96}" srcOrd="7" destOrd="0" presId="urn:microsoft.com/office/officeart/2005/8/layout/process4"/>
    <dgm:cxn modelId="{38F5FEEB-6CDB-4E97-989C-D33231014E0A}" type="presParOf" srcId="{56BB26EE-2D1A-42A0-8FC2-7460DEC58A7A}" destId="{8DA316FC-D30F-426F-A734-0371424D353F}" srcOrd="8" destOrd="0" presId="urn:microsoft.com/office/officeart/2005/8/layout/process4"/>
    <dgm:cxn modelId="{15A33859-3BE4-4464-85C3-934C826E7C62}" type="presParOf" srcId="{8DA316FC-D30F-426F-A734-0371424D353F}" destId="{D67D1EA6-2451-4AFB-A239-B5AFEFDB8815}" srcOrd="0" destOrd="0" presId="urn:microsoft.com/office/officeart/2005/8/layout/process4"/>
    <dgm:cxn modelId="{52EE0D6C-3000-4DE3-B949-F7FF51D0583F}" type="presParOf" srcId="{56BB26EE-2D1A-42A0-8FC2-7460DEC58A7A}" destId="{5BD7EEAB-97F1-4655-A9D0-5F6546FB544A}" srcOrd="9" destOrd="0" presId="urn:microsoft.com/office/officeart/2005/8/layout/process4"/>
    <dgm:cxn modelId="{EFEDA6E0-A942-44CD-AD35-B918CFBCD7E1}" type="presParOf" srcId="{56BB26EE-2D1A-42A0-8FC2-7460DEC58A7A}" destId="{C5DC4E0C-63FC-4EE7-AC38-6C6ECA57FD67}" srcOrd="10" destOrd="0" presId="urn:microsoft.com/office/officeart/2005/8/layout/process4"/>
    <dgm:cxn modelId="{728DF9E4-D8FD-4A2A-B9FC-F4BCECF889A9}" type="presParOf" srcId="{C5DC4E0C-63FC-4EE7-AC38-6C6ECA57FD67}" destId="{6E0B02CF-014A-4D62-831B-E811FCAD8009}" srcOrd="0" destOrd="0" presId="urn:microsoft.com/office/officeart/2005/8/layout/process4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E63B3902-E416-4C5B-AF43-EA7A204891D1}" type="doc">
      <dgm:prSet loTypeId="urn:microsoft.com/office/officeart/2005/8/layout/process4" loCatId="list" qsTypeId="urn:microsoft.com/office/officeart/2005/8/quickstyle/simple3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5C1DF087-FBB3-403A-8CF7-D012CA9B52FE}">
      <dgm:prSet phldrT="[Text]"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F6921E"/>
          </a:solidFill>
        </a:ln>
      </dgm:spPr>
      <dgm:t>
        <a:bodyPr/>
        <a:lstStyle/>
        <a:p>
          <a:r>
            <a:rPr lang="en-US" sz="1100" dirty="0" smtClean="0"/>
            <a:t>Source Code management</a:t>
          </a:r>
          <a:endParaRPr lang="en-US" sz="1100" dirty="0"/>
        </a:p>
      </dgm:t>
    </dgm:pt>
    <dgm:pt modelId="{D699B579-5C7A-4218-BDB7-0B771BEDB820}" type="parTrans" cxnId="{09D1410D-C768-4792-99D4-D0850D694E21}">
      <dgm:prSet/>
      <dgm:spPr/>
      <dgm:t>
        <a:bodyPr/>
        <a:lstStyle/>
        <a:p>
          <a:endParaRPr lang="en-US" sz="1100"/>
        </a:p>
      </dgm:t>
    </dgm:pt>
    <dgm:pt modelId="{9D2CB7B9-895A-480C-9E80-8B95369020D0}" type="sibTrans" cxnId="{09D1410D-C768-4792-99D4-D0850D694E21}">
      <dgm:prSet/>
      <dgm:spPr/>
      <dgm:t>
        <a:bodyPr/>
        <a:lstStyle/>
        <a:p>
          <a:endParaRPr lang="en-US" sz="1100"/>
        </a:p>
      </dgm:t>
    </dgm:pt>
    <dgm:pt modelId="{A5A94484-A0D7-4248-BFAF-F525FA3B24FE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F6921E"/>
          </a:solidFill>
        </a:ln>
      </dgm:spPr>
      <dgm:t>
        <a:bodyPr/>
        <a:lstStyle/>
        <a:p>
          <a:r>
            <a:rPr lang="en-US" sz="1100" dirty="0" smtClean="0"/>
            <a:t>Automated Deployments</a:t>
          </a:r>
          <a:endParaRPr lang="en-US" sz="1100" dirty="0"/>
        </a:p>
      </dgm:t>
    </dgm:pt>
    <dgm:pt modelId="{2AE5F581-78CA-4CED-B43A-D65A7DF500DF}" type="parTrans" cxnId="{470A0935-0684-42D8-A3F8-5D87CC380A86}">
      <dgm:prSet/>
      <dgm:spPr/>
      <dgm:t>
        <a:bodyPr/>
        <a:lstStyle/>
        <a:p>
          <a:endParaRPr lang="en-US"/>
        </a:p>
      </dgm:t>
    </dgm:pt>
    <dgm:pt modelId="{6CA6F13D-1F72-4854-8F4E-BD863F762FF2}" type="sibTrans" cxnId="{470A0935-0684-42D8-A3F8-5D87CC380A86}">
      <dgm:prSet/>
      <dgm:spPr/>
      <dgm:t>
        <a:bodyPr/>
        <a:lstStyle/>
        <a:p>
          <a:endParaRPr lang="en-US"/>
        </a:p>
      </dgm:t>
    </dgm:pt>
    <dgm:pt modelId="{FC783153-AF29-4BBD-B46C-4A69CBCE0AD7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F6921E"/>
          </a:solidFill>
        </a:ln>
      </dgm:spPr>
      <dgm:t>
        <a:bodyPr/>
        <a:lstStyle/>
        <a:p>
          <a:r>
            <a:rPr lang="en-US" sz="1100" dirty="0" smtClean="0"/>
            <a:t>Service </a:t>
          </a:r>
          <a:r>
            <a:rPr lang="en-US" sz="1100" dirty="0" err="1" smtClean="0"/>
            <a:t>Virtualisation</a:t>
          </a:r>
          <a:endParaRPr lang="en-US" sz="1100" dirty="0"/>
        </a:p>
      </dgm:t>
    </dgm:pt>
    <dgm:pt modelId="{A51FEF72-0015-4C91-BDAA-1CEBF11497D0}" type="parTrans" cxnId="{773054B8-BC55-4252-8391-6B49F62BC950}">
      <dgm:prSet/>
      <dgm:spPr/>
      <dgm:t>
        <a:bodyPr/>
        <a:lstStyle/>
        <a:p>
          <a:endParaRPr lang="en-US"/>
        </a:p>
      </dgm:t>
    </dgm:pt>
    <dgm:pt modelId="{0504366D-655D-4BCA-9D1E-76C53922CC18}" type="sibTrans" cxnId="{773054B8-BC55-4252-8391-6B49F62BC950}">
      <dgm:prSet/>
      <dgm:spPr/>
      <dgm:t>
        <a:bodyPr/>
        <a:lstStyle/>
        <a:p>
          <a:endParaRPr lang="en-US"/>
        </a:p>
      </dgm:t>
    </dgm:pt>
    <dgm:pt modelId="{3F6C5A95-74C1-44B9-AC6F-055F53BBC881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F6921E"/>
          </a:solidFill>
        </a:ln>
      </dgm:spPr>
      <dgm:t>
        <a:bodyPr/>
        <a:lstStyle/>
        <a:p>
          <a:r>
            <a:rPr lang="en-US" sz="1100" dirty="0" smtClean="0"/>
            <a:t>Requirements Management</a:t>
          </a:r>
          <a:endParaRPr lang="en-US" sz="1100" dirty="0"/>
        </a:p>
      </dgm:t>
    </dgm:pt>
    <dgm:pt modelId="{5C798552-140A-44E4-BBC8-99A5FE280950}" type="parTrans" cxnId="{FBE9D4C7-BE5A-406C-BEEA-E9EEDE7166D2}">
      <dgm:prSet/>
      <dgm:spPr/>
      <dgm:t>
        <a:bodyPr/>
        <a:lstStyle/>
        <a:p>
          <a:endParaRPr lang="en-US"/>
        </a:p>
      </dgm:t>
    </dgm:pt>
    <dgm:pt modelId="{C6DBE0F3-76C1-42F1-A6CD-7940CA126E78}" type="sibTrans" cxnId="{FBE9D4C7-BE5A-406C-BEEA-E9EEDE7166D2}">
      <dgm:prSet/>
      <dgm:spPr/>
      <dgm:t>
        <a:bodyPr/>
        <a:lstStyle/>
        <a:p>
          <a:endParaRPr lang="en-US"/>
        </a:p>
      </dgm:t>
    </dgm:pt>
    <dgm:pt modelId="{18FBA1D7-702A-4410-A73F-EFCDA9B2FC37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F6921E"/>
          </a:solidFill>
        </a:ln>
      </dgm:spPr>
      <dgm:t>
        <a:bodyPr/>
        <a:lstStyle/>
        <a:p>
          <a:r>
            <a:rPr lang="en-US" sz="1100" dirty="0" smtClean="0"/>
            <a:t>Automated Testing</a:t>
          </a:r>
          <a:endParaRPr lang="en-US" sz="1100" dirty="0"/>
        </a:p>
      </dgm:t>
    </dgm:pt>
    <dgm:pt modelId="{857414F3-95A3-459A-A80B-9C598F3032BB}" type="parTrans" cxnId="{D07B1D56-6685-4ACA-A282-A8755E7B1885}">
      <dgm:prSet/>
      <dgm:spPr/>
      <dgm:t>
        <a:bodyPr/>
        <a:lstStyle/>
        <a:p>
          <a:endParaRPr lang="en-US"/>
        </a:p>
      </dgm:t>
    </dgm:pt>
    <dgm:pt modelId="{D6B7F930-F681-431F-84AD-54F9CB4FA7C9}" type="sibTrans" cxnId="{D07B1D56-6685-4ACA-A282-A8755E7B1885}">
      <dgm:prSet/>
      <dgm:spPr/>
      <dgm:t>
        <a:bodyPr/>
        <a:lstStyle/>
        <a:p>
          <a:endParaRPr lang="en-US"/>
        </a:p>
      </dgm:t>
    </dgm:pt>
    <dgm:pt modelId="{01D4CE73-5B49-4C79-9DEB-E2AA9CCEB032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F6921E"/>
          </a:solidFill>
        </a:ln>
      </dgm:spPr>
      <dgm:t>
        <a:bodyPr/>
        <a:lstStyle/>
        <a:p>
          <a:r>
            <a:rPr lang="en-US" sz="1100" dirty="0" smtClean="0"/>
            <a:t>Application Redesign/Changes</a:t>
          </a:r>
          <a:endParaRPr lang="en-US" sz="1100" dirty="0"/>
        </a:p>
      </dgm:t>
    </dgm:pt>
    <dgm:pt modelId="{9ACA3EFB-805D-4EE2-B791-707E9DB6121A}" type="parTrans" cxnId="{F52CE052-77D8-41D7-B5DF-ED2C24978BFE}">
      <dgm:prSet/>
      <dgm:spPr/>
      <dgm:t>
        <a:bodyPr/>
        <a:lstStyle/>
        <a:p>
          <a:endParaRPr lang="en-US"/>
        </a:p>
      </dgm:t>
    </dgm:pt>
    <dgm:pt modelId="{D12EE409-78E1-4CAD-9E81-52E39E22061E}" type="sibTrans" cxnId="{F52CE052-77D8-41D7-B5DF-ED2C24978BFE}">
      <dgm:prSet/>
      <dgm:spPr/>
      <dgm:t>
        <a:bodyPr/>
        <a:lstStyle/>
        <a:p>
          <a:endParaRPr lang="en-US"/>
        </a:p>
      </dgm:t>
    </dgm:pt>
    <dgm:pt modelId="{2A6EC015-C791-4F2A-A091-93D158D0F696}">
      <dgm:prSet phldrT="[Text]"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F6921E"/>
          </a:solidFill>
        </a:ln>
      </dgm:spPr>
      <dgm:t>
        <a:bodyPr/>
        <a:lstStyle/>
        <a:p>
          <a:r>
            <a:rPr lang="en-US" sz="1100" dirty="0" smtClean="0"/>
            <a:t>Continuous Integration</a:t>
          </a:r>
          <a:endParaRPr lang="en-US" sz="1100" dirty="0"/>
        </a:p>
      </dgm:t>
    </dgm:pt>
    <dgm:pt modelId="{80C006EE-0E6C-4850-9EA5-A76A96BCD8C3}" type="parTrans" cxnId="{D14297D3-6109-455A-8D74-D0D692C264C4}">
      <dgm:prSet/>
      <dgm:spPr/>
      <dgm:t>
        <a:bodyPr/>
        <a:lstStyle/>
        <a:p>
          <a:endParaRPr lang="en-US"/>
        </a:p>
      </dgm:t>
    </dgm:pt>
    <dgm:pt modelId="{F529F0B0-FD02-41EB-BD47-DDFD765ACF7A}" type="sibTrans" cxnId="{D14297D3-6109-455A-8D74-D0D692C264C4}">
      <dgm:prSet/>
      <dgm:spPr/>
      <dgm:t>
        <a:bodyPr/>
        <a:lstStyle/>
        <a:p>
          <a:endParaRPr lang="en-US"/>
        </a:p>
      </dgm:t>
    </dgm:pt>
    <dgm:pt modelId="{56BB26EE-2D1A-42A0-8FC2-7460DEC58A7A}" type="pres">
      <dgm:prSet presAssocID="{E63B3902-E416-4C5B-AF43-EA7A204891D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5172C3F-4732-4B70-A590-CE0EDDA2C984}" type="pres">
      <dgm:prSet presAssocID="{18FBA1D7-702A-4410-A73F-EFCDA9B2FC37}" presName="boxAndChildren" presStyleCnt="0"/>
      <dgm:spPr/>
    </dgm:pt>
    <dgm:pt modelId="{59F35799-7B2D-46A8-917C-441B97053FBC}" type="pres">
      <dgm:prSet presAssocID="{18FBA1D7-702A-4410-A73F-EFCDA9B2FC37}" presName="parentTextBox" presStyleLbl="node1" presStyleIdx="0" presStyleCnt="7"/>
      <dgm:spPr/>
      <dgm:t>
        <a:bodyPr/>
        <a:lstStyle/>
        <a:p>
          <a:endParaRPr lang="en-US"/>
        </a:p>
      </dgm:t>
    </dgm:pt>
    <dgm:pt modelId="{BFD37F9C-00C8-40ED-B148-F16F83B6FAF9}" type="pres">
      <dgm:prSet presAssocID="{0504366D-655D-4BCA-9D1E-76C53922CC18}" presName="sp" presStyleCnt="0"/>
      <dgm:spPr/>
    </dgm:pt>
    <dgm:pt modelId="{1F1B3E0E-2BF3-42E3-9B3F-EC2B7ECDC0DF}" type="pres">
      <dgm:prSet presAssocID="{FC783153-AF29-4BBD-B46C-4A69CBCE0AD7}" presName="arrowAndChildren" presStyleCnt="0"/>
      <dgm:spPr/>
    </dgm:pt>
    <dgm:pt modelId="{EDB1AE90-2190-4598-B94D-DAF29DF40908}" type="pres">
      <dgm:prSet presAssocID="{FC783153-AF29-4BBD-B46C-4A69CBCE0AD7}" presName="parentTextArrow" presStyleLbl="node1" presStyleIdx="1" presStyleCnt="7"/>
      <dgm:spPr/>
      <dgm:t>
        <a:bodyPr/>
        <a:lstStyle/>
        <a:p>
          <a:endParaRPr lang="en-US"/>
        </a:p>
      </dgm:t>
    </dgm:pt>
    <dgm:pt modelId="{06007EB0-742D-4688-88D1-C2EC160355AC}" type="pres">
      <dgm:prSet presAssocID="{6CA6F13D-1F72-4854-8F4E-BD863F762FF2}" presName="sp" presStyleCnt="0"/>
      <dgm:spPr/>
    </dgm:pt>
    <dgm:pt modelId="{F7F17886-C9E1-4676-815C-DE8944072050}" type="pres">
      <dgm:prSet presAssocID="{A5A94484-A0D7-4248-BFAF-F525FA3B24FE}" presName="arrowAndChildren" presStyleCnt="0"/>
      <dgm:spPr/>
    </dgm:pt>
    <dgm:pt modelId="{BEF5F80E-B7F7-44B7-A0EE-5D2B305723AE}" type="pres">
      <dgm:prSet presAssocID="{A5A94484-A0D7-4248-BFAF-F525FA3B24FE}" presName="parentTextArrow" presStyleLbl="node1" presStyleIdx="2" presStyleCnt="7"/>
      <dgm:spPr/>
      <dgm:t>
        <a:bodyPr/>
        <a:lstStyle/>
        <a:p>
          <a:endParaRPr lang="en-US"/>
        </a:p>
      </dgm:t>
    </dgm:pt>
    <dgm:pt modelId="{CDB52FF7-B117-454D-8A6B-0FDEEB379DB7}" type="pres">
      <dgm:prSet presAssocID="{F529F0B0-FD02-41EB-BD47-DDFD765ACF7A}" presName="sp" presStyleCnt="0"/>
      <dgm:spPr/>
    </dgm:pt>
    <dgm:pt modelId="{A2A39BA0-F79A-43CD-A811-0C73C805B8BE}" type="pres">
      <dgm:prSet presAssocID="{2A6EC015-C791-4F2A-A091-93D158D0F696}" presName="arrowAndChildren" presStyleCnt="0"/>
      <dgm:spPr/>
    </dgm:pt>
    <dgm:pt modelId="{00892CBD-0473-440D-ADAE-0F58456520C3}" type="pres">
      <dgm:prSet presAssocID="{2A6EC015-C791-4F2A-A091-93D158D0F696}" presName="parentTextArrow" presStyleLbl="node1" presStyleIdx="3" presStyleCnt="7"/>
      <dgm:spPr/>
      <dgm:t>
        <a:bodyPr/>
        <a:lstStyle/>
        <a:p>
          <a:endParaRPr lang="en-US"/>
        </a:p>
      </dgm:t>
    </dgm:pt>
    <dgm:pt modelId="{28656B02-BFA1-4520-BAA9-B4FCAEC2EC96}" type="pres">
      <dgm:prSet presAssocID="{9D2CB7B9-895A-480C-9E80-8B95369020D0}" presName="sp" presStyleCnt="0"/>
      <dgm:spPr/>
    </dgm:pt>
    <dgm:pt modelId="{8DA316FC-D30F-426F-A734-0371424D353F}" type="pres">
      <dgm:prSet presAssocID="{5C1DF087-FBB3-403A-8CF7-D012CA9B52FE}" presName="arrowAndChildren" presStyleCnt="0"/>
      <dgm:spPr/>
    </dgm:pt>
    <dgm:pt modelId="{D67D1EA6-2451-4AFB-A239-B5AFEFDB8815}" type="pres">
      <dgm:prSet presAssocID="{5C1DF087-FBB3-403A-8CF7-D012CA9B52FE}" presName="parentTextArrow" presStyleLbl="node1" presStyleIdx="4" presStyleCnt="7" custLinFactNeighborX="-459"/>
      <dgm:spPr/>
      <dgm:t>
        <a:bodyPr/>
        <a:lstStyle/>
        <a:p>
          <a:endParaRPr lang="en-US"/>
        </a:p>
      </dgm:t>
    </dgm:pt>
    <dgm:pt modelId="{5BD7EEAB-97F1-4655-A9D0-5F6546FB544A}" type="pres">
      <dgm:prSet presAssocID="{C6DBE0F3-76C1-42F1-A6CD-7940CA126E78}" presName="sp" presStyleCnt="0"/>
      <dgm:spPr/>
    </dgm:pt>
    <dgm:pt modelId="{C5DC4E0C-63FC-4EE7-AC38-6C6ECA57FD67}" type="pres">
      <dgm:prSet presAssocID="{3F6C5A95-74C1-44B9-AC6F-055F53BBC881}" presName="arrowAndChildren" presStyleCnt="0"/>
      <dgm:spPr/>
    </dgm:pt>
    <dgm:pt modelId="{6E0B02CF-014A-4D62-831B-E811FCAD8009}" type="pres">
      <dgm:prSet presAssocID="{3F6C5A95-74C1-44B9-AC6F-055F53BBC881}" presName="parentTextArrow" presStyleLbl="node1" presStyleIdx="5" presStyleCnt="7"/>
      <dgm:spPr/>
      <dgm:t>
        <a:bodyPr/>
        <a:lstStyle/>
        <a:p>
          <a:endParaRPr lang="en-US"/>
        </a:p>
      </dgm:t>
    </dgm:pt>
    <dgm:pt modelId="{E3D9574F-63FB-4D1A-BCEF-D25243E5D613}" type="pres">
      <dgm:prSet presAssocID="{D12EE409-78E1-4CAD-9E81-52E39E22061E}" presName="sp" presStyleCnt="0"/>
      <dgm:spPr/>
    </dgm:pt>
    <dgm:pt modelId="{E85B6522-3812-4431-BD4F-81260713C737}" type="pres">
      <dgm:prSet presAssocID="{01D4CE73-5B49-4C79-9DEB-E2AA9CCEB032}" presName="arrowAndChildren" presStyleCnt="0"/>
      <dgm:spPr/>
    </dgm:pt>
    <dgm:pt modelId="{87C17828-7C5D-4C68-B5AE-C9062933E390}" type="pres">
      <dgm:prSet presAssocID="{01D4CE73-5B49-4C79-9DEB-E2AA9CCEB032}" presName="parentTextArrow" presStyleLbl="node1" presStyleIdx="6" presStyleCnt="7"/>
      <dgm:spPr/>
      <dgm:t>
        <a:bodyPr/>
        <a:lstStyle/>
        <a:p>
          <a:endParaRPr lang="en-US"/>
        </a:p>
      </dgm:t>
    </dgm:pt>
  </dgm:ptLst>
  <dgm:cxnLst>
    <dgm:cxn modelId="{F52CE052-77D8-41D7-B5DF-ED2C24978BFE}" srcId="{E63B3902-E416-4C5B-AF43-EA7A204891D1}" destId="{01D4CE73-5B49-4C79-9DEB-E2AA9CCEB032}" srcOrd="0" destOrd="0" parTransId="{9ACA3EFB-805D-4EE2-B791-707E9DB6121A}" sibTransId="{D12EE409-78E1-4CAD-9E81-52E39E22061E}"/>
    <dgm:cxn modelId="{09D1410D-C768-4792-99D4-D0850D694E21}" srcId="{E63B3902-E416-4C5B-AF43-EA7A204891D1}" destId="{5C1DF087-FBB3-403A-8CF7-D012CA9B52FE}" srcOrd="2" destOrd="0" parTransId="{D699B579-5C7A-4218-BDB7-0B771BEDB820}" sibTransId="{9D2CB7B9-895A-480C-9E80-8B95369020D0}"/>
    <dgm:cxn modelId="{D14297D3-6109-455A-8D74-D0D692C264C4}" srcId="{E63B3902-E416-4C5B-AF43-EA7A204891D1}" destId="{2A6EC015-C791-4F2A-A091-93D158D0F696}" srcOrd="3" destOrd="0" parTransId="{80C006EE-0E6C-4850-9EA5-A76A96BCD8C3}" sibTransId="{F529F0B0-FD02-41EB-BD47-DDFD765ACF7A}"/>
    <dgm:cxn modelId="{E294334F-2B95-4CC4-9D44-F7574BEE568F}" type="presOf" srcId="{3F6C5A95-74C1-44B9-AC6F-055F53BBC881}" destId="{6E0B02CF-014A-4D62-831B-E811FCAD8009}" srcOrd="0" destOrd="0" presId="urn:microsoft.com/office/officeart/2005/8/layout/process4"/>
    <dgm:cxn modelId="{0043A0C5-1931-41F7-9976-9DC6A91CBFA9}" type="presOf" srcId="{18FBA1D7-702A-4410-A73F-EFCDA9B2FC37}" destId="{59F35799-7B2D-46A8-917C-441B97053FBC}" srcOrd="0" destOrd="0" presId="urn:microsoft.com/office/officeart/2005/8/layout/process4"/>
    <dgm:cxn modelId="{D07B1D56-6685-4ACA-A282-A8755E7B1885}" srcId="{E63B3902-E416-4C5B-AF43-EA7A204891D1}" destId="{18FBA1D7-702A-4410-A73F-EFCDA9B2FC37}" srcOrd="6" destOrd="0" parTransId="{857414F3-95A3-459A-A80B-9C598F3032BB}" sibTransId="{D6B7F930-F681-431F-84AD-54F9CB4FA7C9}"/>
    <dgm:cxn modelId="{F8E31313-02CE-4FCB-8DB0-67CD69A3956D}" type="presOf" srcId="{5C1DF087-FBB3-403A-8CF7-D012CA9B52FE}" destId="{D67D1EA6-2451-4AFB-A239-B5AFEFDB8815}" srcOrd="0" destOrd="0" presId="urn:microsoft.com/office/officeart/2005/8/layout/process4"/>
    <dgm:cxn modelId="{470A0935-0684-42D8-A3F8-5D87CC380A86}" srcId="{E63B3902-E416-4C5B-AF43-EA7A204891D1}" destId="{A5A94484-A0D7-4248-BFAF-F525FA3B24FE}" srcOrd="4" destOrd="0" parTransId="{2AE5F581-78CA-4CED-B43A-D65A7DF500DF}" sibTransId="{6CA6F13D-1F72-4854-8F4E-BD863F762FF2}"/>
    <dgm:cxn modelId="{C1B1FBA0-5CF6-490A-8684-3BFD0267AF53}" type="presOf" srcId="{FC783153-AF29-4BBD-B46C-4A69CBCE0AD7}" destId="{EDB1AE90-2190-4598-B94D-DAF29DF40908}" srcOrd="0" destOrd="0" presId="urn:microsoft.com/office/officeart/2005/8/layout/process4"/>
    <dgm:cxn modelId="{9B246FE5-D9EB-4F35-8AC3-C2A4B149D6AD}" type="presOf" srcId="{A5A94484-A0D7-4248-BFAF-F525FA3B24FE}" destId="{BEF5F80E-B7F7-44B7-A0EE-5D2B305723AE}" srcOrd="0" destOrd="0" presId="urn:microsoft.com/office/officeart/2005/8/layout/process4"/>
    <dgm:cxn modelId="{773054B8-BC55-4252-8391-6B49F62BC950}" srcId="{E63B3902-E416-4C5B-AF43-EA7A204891D1}" destId="{FC783153-AF29-4BBD-B46C-4A69CBCE0AD7}" srcOrd="5" destOrd="0" parTransId="{A51FEF72-0015-4C91-BDAA-1CEBF11497D0}" sibTransId="{0504366D-655D-4BCA-9D1E-76C53922CC18}"/>
    <dgm:cxn modelId="{B28848ED-833E-4986-B3FA-74E250F574FB}" type="presOf" srcId="{E63B3902-E416-4C5B-AF43-EA7A204891D1}" destId="{56BB26EE-2D1A-42A0-8FC2-7460DEC58A7A}" srcOrd="0" destOrd="0" presId="urn:microsoft.com/office/officeart/2005/8/layout/process4"/>
    <dgm:cxn modelId="{FBE9D4C7-BE5A-406C-BEEA-E9EEDE7166D2}" srcId="{E63B3902-E416-4C5B-AF43-EA7A204891D1}" destId="{3F6C5A95-74C1-44B9-AC6F-055F53BBC881}" srcOrd="1" destOrd="0" parTransId="{5C798552-140A-44E4-BBC8-99A5FE280950}" sibTransId="{C6DBE0F3-76C1-42F1-A6CD-7940CA126E78}"/>
    <dgm:cxn modelId="{A045B6A1-EE97-4109-BF64-F9D54B323623}" type="presOf" srcId="{01D4CE73-5B49-4C79-9DEB-E2AA9CCEB032}" destId="{87C17828-7C5D-4C68-B5AE-C9062933E390}" srcOrd="0" destOrd="0" presId="urn:microsoft.com/office/officeart/2005/8/layout/process4"/>
    <dgm:cxn modelId="{C6B46FE1-2232-40F3-9BD8-724F1567B85D}" type="presOf" srcId="{2A6EC015-C791-4F2A-A091-93D158D0F696}" destId="{00892CBD-0473-440D-ADAE-0F58456520C3}" srcOrd="0" destOrd="0" presId="urn:microsoft.com/office/officeart/2005/8/layout/process4"/>
    <dgm:cxn modelId="{0215D4EE-9CBA-4756-A8E7-F51DF504F37F}" type="presParOf" srcId="{56BB26EE-2D1A-42A0-8FC2-7460DEC58A7A}" destId="{55172C3F-4732-4B70-A590-CE0EDDA2C984}" srcOrd="0" destOrd="0" presId="urn:microsoft.com/office/officeart/2005/8/layout/process4"/>
    <dgm:cxn modelId="{8477B73E-7887-469A-8F0A-9216ADCF73F7}" type="presParOf" srcId="{55172C3F-4732-4B70-A590-CE0EDDA2C984}" destId="{59F35799-7B2D-46A8-917C-441B97053FBC}" srcOrd="0" destOrd="0" presId="urn:microsoft.com/office/officeart/2005/8/layout/process4"/>
    <dgm:cxn modelId="{74DE3B6A-2EA2-4025-8751-E664BAD1E616}" type="presParOf" srcId="{56BB26EE-2D1A-42A0-8FC2-7460DEC58A7A}" destId="{BFD37F9C-00C8-40ED-B148-F16F83B6FAF9}" srcOrd="1" destOrd="0" presId="urn:microsoft.com/office/officeart/2005/8/layout/process4"/>
    <dgm:cxn modelId="{BB5BC384-D27F-4F10-A283-FD1072EA3802}" type="presParOf" srcId="{56BB26EE-2D1A-42A0-8FC2-7460DEC58A7A}" destId="{1F1B3E0E-2BF3-42E3-9B3F-EC2B7ECDC0DF}" srcOrd="2" destOrd="0" presId="urn:microsoft.com/office/officeart/2005/8/layout/process4"/>
    <dgm:cxn modelId="{38C11923-0141-4CE1-A5DD-709B88A54432}" type="presParOf" srcId="{1F1B3E0E-2BF3-42E3-9B3F-EC2B7ECDC0DF}" destId="{EDB1AE90-2190-4598-B94D-DAF29DF40908}" srcOrd="0" destOrd="0" presId="urn:microsoft.com/office/officeart/2005/8/layout/process4"/>
    <dgm:cxn modelId="{F990BBFD-0FF3-444F-9916-C57E6AFA6454}" type="presParOf" srcId="{56BB26EE-2D1A-42A0-8FC2-7460DEC58A7A}" destId="{06007EB0-742D-4688-88D1-C2EC160355AC}" srcOrd="3" destOrd="0" presId="urn:microsoft.com/office/officeart/2005/8/layout/process4"/>
    <dgm:cxn modelId="{48C0E67B-0AAA-49F6-AECC-42FB6B027204}" type="presParOf" srcId="{56BB26EE-2D1A-42A0-8FC2-7460DEC58A7A}" destId="{F7F17886-C9E1-4676-815C-DE8944072050}" srcOrd="4" destOrd="0" presId="urn:microsoft.com/office/officeart/2005/8/layout/process4"/>
    <dgm:cxn modelId="{A43FA6CF-3C8B-4E39-AD8F-EAE5B41B1988}" type="presParOf" srcId="{F7F17886-C9E1-4676-815C-DE8944072050}" destId="{BEF5F80E-B7F7-44B7-A0EE-5D2B305723AE}" srcOrd="0" destOrd="0" presId="urn:microsoft.com/office/officeart/2005/8/layout/process4"/>
    <dgm:cxn modelId="{FE1C1A75-AA54-447F-B725-ECC1CA5C260F}" type="presParOf" srcId="{56BB26EE-2D1A-42A0-8FC2-7460DEC58A7A}" destId="{CDB52FF7-B117-454D-8A6B-0FDEEB379DB7}" srcOrd="5" destOrd="0" presId="urn:microsoft.com/office/officeart/2005/8/layout/process4"/>
    <dgm:cxn modelId="{C5AC8B2C-0CB7-4BDD-9BBF-D07AA5F60E7C}" type="presParOf" srcId="{56BB26EE-2D1A-42A0-8FC2-7460DEC58A7A}" destId="{A2A39BA0-F79A-43CD-A811-0C73C805B8BE}" srcOrd="6" destOrd="0" presId="urn:microsoft.com/office/officeart/2005/8/layout/process4"/>
    <dgm:cxn modelId="{A7A1E276-B0F2-4858-9C6A-982D56E41985}" type="presParOf" srcId="{A2A39BA0-F79A-43CD-A811-0C73C805B8BE}" destId="{00892CBD-0473-440D-ADAE-0F58456520C3}" srcOrd="0" destOrd="0" presId="urn:microsoft.com/office/officeart/2005/8/layout/process4"/>
    <dgm:cxn modelId="{2CA545BF-0E3E-49E4-812B-3B112AA0D552}" type="presParOf" srcId="{56BB26EE-2D1A-42A0-8FC2-7460DEC58A7A}" destId="{28656B02-BFA1-4520-BAA9-B4FCAEC2EC96}" srcOrd="7" destOrd="0" presId="urn:microsoft.com/office/officeart/2005/8/layout/process4"/>
    <dgm:cxn modelId="{5C4C6010-66E7-4B48-A146-39867BE733EE}" type="presParOf" srcId="{56BB26EE-2D1A-42A0-8FC2-7460DEC58A7A}" destId="{8DA316FC-D30F-426F-A734-0371424D353F}" srcOrd="8" destOrd="0" presId="urn:microsoft.com/office/officeart/2005/8/layout/process4"/>
    <dgm:cxn modelId="{1BAB9435-7D13-4A72-A39C-232974E2AF6B}" type="presParOf" srcId="{8DA316FC-D30F-426F-A734-0371424D353F}" destId="{D67D1EA6-2451-4AFB-A239-B5AFEFDB8815}" srcOrd="0" destOrd="0" presId="urn:microsoft.com/office/officeart/2005/8/layout/process4"/>
    <dgm:cxn modelId="{2D773F31-CB4A-42AB-8093-D2F41FE621EA}" type="presParOf" srcId="{56BB26EE-2D1A-42A0-8FC2-7460DEC58A7A}" destId="{5BD7EEAB-97F1-4655-A9D0-5F6546FB544A}" srcOrd="9" destOrd="0" presId="urn:microsoft.com/office/officeart/2005/8/layout/process4"/>
    <dgm:cxn modelId="{A3EDB998-93D3-4224-95B0-80EBF4E1E67E}" type="presParOf" srcId="{56BB26EE-2D1A-42A0-8FC2-7460DEC58A7A}" destId="{C5DC4E0C-63FC-4EE7-AC38-6C6ECA57FD67}" srcOrd="10" destOrd="0" presId="urn:microsoft.com/office/officeart/2005/8/layout/process4"/>
    <dgm:cxn modelId="{7F22A817-F88E-4625-B4AF-58F53A0D543B}" type="presParOf" srcId="{C5DC4E0C-63FC-4EE7-AC38-6C6ECA57FD67}" destId="{6E0B02CF-014A-4D62-831B-E811FCAD8009}" srcOrd="0" destOrd="0" presId="urn:microsoft.com/office/officeart/2005/8/layout/process4"/>
    <dgm:cxn modelId="{58CB808A-427F-4C14-B6F9-724AED921BC7}" type="presParOf" srcId="{56BB26EE-2D1A-42A0-8FC2-7460DEC58A7A}" destId="{E3D9574F-63FB-4D1A-BCEF-D25243E5D613}" srcOrd="11" destOrd="0" presId="urn:microsoft.com/office/officeart/2005/8/layout/process4"/>
    <dgm:cxn modelId="{E28371B9-D56F-4C17-BB6C-4F5751A6276C}" type="presParOf" srcId="{56BB26EE-2D1A-42A0-8FC2-7460DEC58A7A}" destId="{E85B6522-3812-4431-BD4F-81260713C737}" srcOrd="12" destOrd="0" presId="urn:microsoft.com/office/officeart/2005/8/layout/process4"/>
    <dgm:cxn modelId="{F40A455D-34C9-427D-8850-B7FF2EC6E3E9}" type="presParOf" srcId="{E85B6522-3812-4431-BD4F-81260713C737}" destId="{87C17828-7C5D-4C68-B5AE-C9062933E390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E63B3902-E416-4C5B-AF43-EA7A204891D1}" type="doc">
      <dgm:prSet loTypeId="urn:microsoft.com/office/officeart/2005/8/layout/process4" loCatId="list" qsTypeId="urn:microsoft.com/office/officeart/2005/8/quickstyle/simple3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5C1DF087-FBB3-403A-8CF7-D012CA9B52FE}">
      <dgm:prSet phldrT="[Text]"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FF0000"/>
          </a:solidFill>
        </a:ln>
      </dgm:spPr>
      <dgm:t>
        <a:bodyPr/>
        <a:lstStyle/>
        <a:p>
          <a:r>
            <a:rPr lang="en-US" sz="1100" dirty="0" smtClean="0">
              <a:solidFill>
                <a:schemeClr val="accent2"/>
              </a:solidFill>
            </a:rPr>
            <a:t>Source Code management</a:t>
          </a:r>
          <a:endParaRPr lang="en-US" sz="1100" dirty="0">
            <a:solidFill>
              <a:schemeClr val="accent2"/>
            </a:solidFill>
          </a:endParaRPr>
        </a:p>
      </dgm:t>
    </dgm:pt>
    <dgm:pt modelId="{D699B579-5C7A-4218-BDB7-0B771BEDB820}" type="parTrans" cxnId="{09D1410D-C768-4792-99D4-D0850D694E21}">
      <dgm:prSet/>
      <dgm:spPr/>
      <dgm:t>
        <a:bodyPr/>
        <a:lstStyle/>
        <a:p>
          <a:endParaRPr lang="en-US" sz="1100"/>
        </a:p>
      </dgm:t>
    </dgm:pt>
    <dgm:pt modelId="{9D2CB7B9-895A-480C-9E80-8B95369020D0}" type="sibTrans" cxnId="{09D1410D-C768-4792-99D4-D0850D694E21}">
      <dgm:prSet/>
      <dgm:spPr/>
      <dgm:t>
        <a:bodyPr/>
        <a:lstStyle/>
        <a:p>
          <a:endParaRPr lang="en-US" sz="1100"/>
        </a:p>
      </dgm:t>
    </dgm:pt>
    <dgm:pt modelId="{E059CC8F-8B93-44D7-8EA4-4A87A9923542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FF0000"/>
          </a:solidFill>
        </a:ln>
      </dgm:spPr>
      <dgm:t>
        <a:bodyPr/>
        <a:lstStyle/>
        <a:p>
          <a:r>
            <a:rPr lang="en-US" sz="1100" dirty="0" smtClean="0">
              <a:solidFill>
                <a:schemeClr val="accent2"/>
              </a:solidFill>
            </a:rPr>
            <a:t>Continuous Integration</a:t>
          </a:r>
          <a:endParaRPr lang="en-US" sz="1100" dirty="0">
            <a:solidFill>
              <a:schemeClr val="accent2"/>
            </a:solidFill>
          </a:endParaRPr>
        </a:p>
      </dgm:t>
    </dgm:pt>
    <dgm:pt modelId="{5572FDC8-E1C0-4E3E-9C1C-80847537BA96}" type="parTrans" cxnId="{739BE3F5-12D6-4D4B-A72C-B5F68E4E3073}">
      <dgm:prSet/>
      <dgm:spPr/>
      <dgm:t>
        <a:bodyPr/>
        <a:lstStyle/>
        <a:p>
          <a:endParaRPr lang="en-US"/>
        </a:p>
      </dgm:t>
    </dgm:pt>
    <dgm:pt modelId="{2A29FEA2-0CED-485C-88C0-A05BBB2DF194}" type="sibTrans" cxnId="{739BE3F5-12D6-4D4B-A72C-B5F68E4E3073}">
      <dgm:prSet/>
      <dgm:spPr/>
      <dgm:t>
        <a:bodyPr/>
        <a:lstStyle/>
        <a:p>
          <a:endParaRPr lang="en-US"/>
        </a:p>
      </dgm:t>
    </dgm:pt>
    <dgm:pt modelId="{A5A94484-A0D7-4248-BFAF-F525FA3B24FE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FF0000"/>
          </a:solidFill>
        </a:ln>
      </dgm:spPr>
      <dgm:t>
        <a:bodyPr/>
        <a:lstStyle/>
        <a:p>
          <a:r>
            <a:rPr lang="en-US" sz="1100" dirty="0" smtClean="0">
              <a:solidFill>
                <a:schemeClr val="accent2"/>
              </a:solidFill>
            </a:rPr>
            <a:t>Automated Deployments</a:t>
          </a:r>
          <a:endParaRPr lang="en-US" sz="1100" dirty="0">
            <a:solidFill>
              <a:schemeClr val="accent2"/>
            </a:solidFill>
          </a:endParaRPr>
        </a:p>
      </dgm:t>
    </dgm:pt>
    <dgm:pt modelId="{2AE5F581-78CA-4CED-B43A-D65A7DF500DF}" type="parTrans" cxnId="{470A0935-0684-42D8-A3F8-5D87CC380A86}">
      <dgm:prSet/>
      <dgm:spPr/>
      <dgm:t>
        <a:bodyPr/>
        <a:lstStyle/>
        <a:p>
          <a:endParaRPr lang="en-US"/>
        </a:p>
      </dgm:t>
    </dgm:pt>
    <dgm:pt modelId="{6CA6F13D-1F72-4854-8F4E-BD863F762FF2}" type="sibTrans" cxnId="{470A0935-0684-42D8-A3F8-5D87CC380A86}">
      <dgm:prSet/>
      <dgm:spPr/>
      <dgm:t>
        <a:bodyPr/>
        <a:lstStyle/>
        <a:p>
          <a:endParaRPr lang="en-US"/>
        </a:p>
      </dgm:t>
    </dgm:pt>
    <dgm:pt modelId="{FC783153-AF29-4BBD-B46C-4A69CBCE0AD7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FF0000"/>
          </a:solidFill>
        </a:ln>
      </dgm:spPr>
      <dgm:t>
        <a:bodyPr/>
        <a:lstStyle/>
        <a:p>
          <a:r>
            <a:rPr lang="en-US" sz="1100" dirty="0" smtClean="0">
              <a:solidFill>
                <a:schemeClr val="accent2"/>
              </a:solidFill>
            </a:rPr>
            <a:t>Service </a:t>
          </a:r>
          <a:r>
            <a:rPr lang="en-US" sz="1100" dirty="0" err="1" smtClean="0">
              <a:solidFill>
                <a:schemeClr val="accent2"/>
              </a:solidFill>
            </a:rPr>
            <a:t>Virtualisation</a:t>
          </a:r>
          <a:endParaRPr lang="en-US" sz="1100" dirty="0">
            <a:solidFill>
              <a:schemeClr val="accent2"/>
            </a:solidFill>
          </a:endParaRPr>
        </a:p>
      </dgm:t>
    </dgm:pt>
    <dgm:pt modelId="{A51FEF72-0015-4C91-BDAA-1CEBF11497D0}" type="parTrans" cxnId="{773054B8-BC55-4252-8391-6B49F62BC950}">
      <dgm:prSet/>
      <dgm:spPr/>
      <dgm:t>
        <a:bodyPr/>
        <a:lstStyle/>
        <a:p>
          <a:endParaRPr lang="en-US"/>
        </a:p>
      </dgm:t>
    </dgm:pt>
    <dgm:pt modelId="{0504366D-655D-4BCA-9D1E-76C53922CC18}" type="sibTrans" cxnId="{773054B8-BC55-4252-8391-6B49F62BC950}">
      <dgm:prSet/>
      <dgm:spPr/>
      <dgm:t>
        <a:bodyPr/>
        <a:lstStyle/>
        <a:p>
          <a:endParaRPr lang="en-US"/>
        </a:p>
      </dgm:t>
    </dgm:pt>
    <dgm:pt modelId="{3F6C5A95-74C1-44B9-AC6F-055F53BBC881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FF0000"/>
          </a:solidFill>
        </a:ln>
      </dgm:spPr>
      <dgm:t>
        <a:bodyPr/>
        <a:lstStyle/>
        <a:p>
          <a:r>
            <a:rPr lang="en-US" sz="1100" dirty="0" smtClean="0">
              <a:solidFill>
                <a:schemeClr val="accent2"/>
              </a:solidFill>
            </a:rPr>
            <a:t>Requirements Management</a:t>
          </a:r>
          <a:endParaRPr lang="en-US" sz="1100" dirty="0">
            <a:solidFill>
              <a:schemeClr val="accent2"/>
            </a:solidFill>
          </a:endParaRPr>
        </a:p>
      </dgm:t>
    </dgm:pt>
    <dgm:pt modelId="{5C798552-140A-44E4-BBC8-99A5FE280950}" type="parTrans" cxnId="{FBE9D4C7-BE5A-406C-BEEA-E9EEDE7166D2}">
      <dgm:prSet/>
      <dgm:spPr/>
      <dgm:t>
        <a:bodyPr/>
        <a:lstStyle/>
        <a:p>
          <a:endParaRPr lang="en-US"/>
        </a:p>
      </dgm:t>
    </dgm:pt>
    <dgm:pt modelId="{C6DBE0F3-76C1-42F1-A6CD-7940CA126E78}" type="sibTrans" cxnId="{FBE9D4C7-BE5A-406C-BEEA-E9EEDE7166D2}">
      <dgm:prSet/>
      <dgm:spPr/>
      <dgm:t>
        <a:bodyPr/>
        <a:lstStyle/>
        <a:p>
          <a:endParaRPr lang="en-US"/>
        </a:p>
      </dgm:t>
    </dgm:pt>
    <dgm:pt modelId="{18FBA1D7-702A-4410-A73F-EFCDA9B2FC37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FF0000"/>
          </a:solidFill>
        </a:ln>
      </dgm:spPr>
      <dgm:t>
        <a:bodyPr/>
        <a:lstStyle/>
        <a:p>
          <a:r>
            <a:rPr lang="en-US" sz="1100" dirty="0" smtClean="0">
              <a:solidFill>
                <a:schemeClr val="accent2"/>
              </a:solidFill>
            </a:rPr>
            <a:t>Automated Testing</a:t>
          </a:r>
          <a:endParaRPr lang="en-US" sz="1100" dirty="0">
            <a:solidFill>
              <a:schemeClr val="accent2"/>
            </a:solidFill>
          </a:endParaRPr>
        </a:p>
      </dgm:t>
    </dgm:pt>
    <dgm:pt modelId="{857414F3-95A3-459A-A80B-9C598F3032BB}" type="parTrans" cxnId="{D07B1D56-6685-4ACA-A282-A8755E7B1885}">
      <dgm:prSet/>
      <dgm:spPr/>
      <dgm:t>
        <a:bodyPr/>
        <a:lstStyle/>
        <a:p>
          <a:endParaRPr lang="en-US"/>
        </a:p>
      </dgm:t>
    </dgm:pt>
    <dgm:pt modelId="{D6B7F930-F681-431F-84AD-54F9CB4FA7C9}" type="sibTrans" cxnId="{D07B1D56-6685-4ACA-A282-A8755E7B1885}">
      <dgm:prSet/>
      <dgm:spPr/>
      <dgm:t>
        <a:bodyPr/>
        <a:lstStyle/>
        <a:p>
          <a:endParaRPr lang="en-US"/>
        </a:p>
      </dgm:t>
    </dgm:pt>
    <dgm:pt modelId="{DAC8BFF7-9647-4849-8CF9-B2CEE99842EE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FF0000"/>
          </a:solidFill>
        </a:ln>
      </dgm:spPr>
      <dgm:t>
        <a:bodyPr/>
        <a:lstStyle/>
        <a:p>
          <a:r>
            <a:rPr lang="en-US" sz="1100" dirty="0" smtClean="0">
              <a:solidFill>
                <a:schemeClr val="accent2"/>
              </a:solidFill>
            </a:rPr>
            <a:t>Align to CI/CD SDLC</a:t>
          </a:r>
          <a:endParaRPr lang="en-US" sz="1100" dirty="0">
            <a:solidFill>
              <a:schemeClr val="accent2"/>
            </a:solidFill>
          </a:endParaRPr>
        </a:p>
      </dgm:t>
    </dgm:pt>
    <dgm:pt modelId="{7D627AE0-8AE1-4661-ADD9-AABDC139D7EE}" type="parTrans" cxnId="{5043D904-4BE3-4BB2-BB44-BC294233F4E7}">
      <dgm:prSet/>
      <dgm:spPr/>
      <dgm:t>
        <a:bodyPr/>
        <a:lstStyle/>
        <a:p>
          <a:endParaRPr lang="en-US"/>
        </a:p>
      </dgm:t>
    </dgm:pt>
    <dgm:pt modelId="{026C707B-B097-4063-8ADD-804B6C064766}" type="sibTrans" cxnId="{5043D904-4BE3-4BB2-BB44-BC294233F4E7}">
      <dgm:prSet/>
      <dgm:spPr/>
      <dgm:t>
        <a:bodyPr/>
        <a:lstStyle/>
        <a:p>
          <a:endParaRPr lang="en-US"/>
        </a:p>
      </dgm:t>
    </dgm:pt>
    <dgm:pt modelId="{CA328C0E-5A8F-4C55-81E4-6EBBC38007D3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FF0000"/>
          </a:solidFill>
        </a:ln>
      </dgm:spPr>
      <dgm:t>
        <a:bodyPr/>
        <a:lstStyle/>
        <a:p>
          <a:r>
            <a:rPr lang="en-US" sz="1100" dirty="0" smtClean="0">
              <a:solidFill>
                <a:schemeClr val="accent2"/>
              </a:solidFill>
            </a:rPr>
            <a:t>Application redesign to support CI/CD</a:t>
          </a:r>
          <a:endParaRPr lang="en-US" sz="1100" dirty="0">
            <a:solidFill>
              <a:schemeClr val="accent2"/>
            </a:solidFill>
          </a:endParaRPr>
        </a:p>
      </dgm:t>
    </dgm:pt>
    <dgm:pt modelId="{913D7D30-664D-4CDF-AE52-A73EBAAF02EB}" type="parTrans" cxnId="{30C7350D-0413-4FFE-AEF8-5A0C81E8DE0C}">
      <dgm:prSet/>
      <dgm:spPr/>
      <dgm:t>
        <a:bodyPr/>
        <a:lstStyle/>
        <a:p>
          <a:endParaRPr lang="en-US"/>
        </a:p>
      </dgm:t>
    </dgm:pt>
    <dgm:pt modelId="{23482299-F43F-4457-B924-E53F0C96C4AA}" type="sibTrans" cxnId="{30C7350D-0413-4FFE-AEF8-5A0C81E8DE0C}">
      <dgm:prSet/>
      <dgm:spPr/>
      <dgm:t>
        <a:bodyPr/>
        <a:lstStyle/>
        <a:p>
          <a:endParaRPr lang="en-US"/>
        </a:p>
      </dgm:t>
    </dgm:pt>
    <dgm:pt modelId="{56BB26EE-2D1A-42A0-8FC2-7460DEC58A7A}" type="pres">
      <dgm:prSet presAssocID="{E63B3902-E416-4C5B-AF43-EA7A204891D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5172C3F-4732-4B70-A590-CE0EDDA2C984}" type="pres">
      <dgm:prSet presAssocID="{18FBA1D7-702A-4410-A73F-EFCDA9B2FC37}" presName="boxAndChildren" presStyleCnt="0"/>
      <dgm:spPr/>
    </dgm:pt>
    <dgm:pt modelId="{59F35799-7B2D-46A8-917C-441B97053FBC}" type="pres">
      <dgm:prSet presAssocID="{18FBA1D7-702A-4410-A73F-EFCDA9B2FC37}" presName="parentTextBox" presStyleLbl="node1" presStyleIdx="0" presStyleCnt="8"/>
      <dgm:spPr/>
      <dgm:t>
        <a:bodyPr/>
        <a:lstStyle/>
        <a:p>
          <a:endParaRPr lang="en-US"/>
        </a:p>
      </dgm:t>
    </dgm:pt>
    <dgm:pt modelId="{BFD37F9C-00C8-40ED-B148-F16F83B6FAF9}" type="pres">
      <dgm:prSet presAssocID="{0504366D-655D-4BCA-9D1E-76C53922CC18}" presName="sp" presStyleCnt="0"/>
      <dgm:spPr/>
    </dgm:pt>
    <dgm:pt modelId="{1F1B3E0E-2BF3-42E3-9B3F-EC2B7ECDC0DF}" type="pres">
      <dgm:prSet presAssocID="{FC783153-AF29-4BBD-B46C-4A69CBCE0AD7}" presName="arrowAndChildren" presStyleCnt="0"/>
      <dgm:spPr/>
    </dgm:pt>
    <dgm:pt modelId="{EDB1AE90-2190-4598-B94D-DAF29DF40908}" type="pres">
      <dgm:prSet presAssocID="{FC783153-AF29-4BBD-B46C-4A69CBCE0AD7}" presName="parentTextArrow" presStyleLbl="node1" presStyleIdx="1" presStyleCnt="8"/>
      <dgm:spPr/>
      <dgm:t>
        <a:bodyPr/>
        <a:lstStyle/>
        <a:p>
          <a:endParaRPr lang="en-US"/>
        </a:p>
      </dgm:t>
    </dgm:pt>
    <dgm:pt modelId="{06007EB0-742D-4688-88D1-C2EC160355AC}" type="pres">
      <dgm:prSet presAssocID="{6CA6F13D-1F72-4854-8F4E-BD863F762FF2}" presName="sp" presStyleCnt="0"/>
      <dgm:spPr/>
    </dgm:pt>
    <dgm:pt modelId="{F7F17886-C9E1-4676-815C-DE8944072050}" type="pres">
      <dgm:prSet presAssocID="{A5A94484-A0D7-4248-BFAF-F525FA3B24FE}" presName="arrowAndChildren" presStyleCnt="0"/>
      <dgm:spPr/>
    </dgm:pt>
    <dgm:pt modelId="{BEF5F80E-B7F7-44B7-A0EE-5D2B305723AE}" type="pres">
      <dgm:prSet presAssocID="{A5A94484-A0D7-4248-BFAF-F525FA3B24FE}" presName="parentTextArrow" presStyleLbl="node1" presStyleIdx="2" presStyleCnt="8"/>
      <dgm:spPr/>
      <dgm:t>
        <a:bodyPr/>
        <a:lstStyle/>
        <a:p>
          <a:endParaRPr lang="en-US"/>
        </a:p>
      </dgm:t>
    </dgm:pt>
    <dgm:pt modelId="{BDA5876D-BB3B-44E0-8B55-D71755B3D3A6}" type="pres">
      <dgm:prSet presAssocID="{2A29FEA2-0CED-485C-88C0-A05BBB2DF194}" presName="sp" presStyleCnt="0"/>
      <dgm:spPr/>
    </dgm:pt>
    <dgm:pt modelId="{37D1D6F5-9492-41E9-A03B-E3D57C33F701}" type="pres">
      <dgm:prSet presAssocID="{E059CC8F-8B93-44D7-8EA4-4A87A9923542}" presName="arrowAndChildren" presStyleCnt="0"/>
      <dgm:spPr/>
    </dgm:pt>
    <dgm:pt modelId="{36097834-439F-445A-A3E9-79C8B0B3CA2A}" type="pres">
      <dgm:prSet presAssocID="{E059CC8F-8B93-44D7-8EA4-4A87A9923542}" presName="parentTextArrow" presStyleLbl="node1" presStyleIdx="3" presStyleCnt="8"/>
      <dgm:spPr/>
      <dgm:t>
        <a:bodyPr/>
        <a:lstStyle/>
        <a:p>
          <a:endParaRPr lang="en-US"/>
        </a:p>
      </dgm:t>
    </dgm:pt>
    <dgm:pt modelId="{CE79C45F-4302-4796-963B-CF7D13759BC1}" type="pres">
      <dgm:prSet presAssocID="{23482299-F43F-4457-B924-E53F0C96C4AA}" presName="sp" presStyleCnt="0"/>
      <dgm:spPr/>
    </dgm:pt>
    <dgm:pt modelId="{C8BAD7CF-C47F-4446-BB19-63CC145837E9}" type="pres">
      <dgm:prSet presAssocID="{CA328C0E-5A8F-4C55-81E4-6EBBC38007D3}" presName="arrowAndChildren" presStyleCnt="0"/>
      <dgm:spPr/>
    </dgm:pt>
    <dgm:pt modelId="{1E41EC4C-5E99-4440-A691-4F3836E3FB6E}" type="pres">
      <dgm:prSet presAssocID="{CA328C0E-5A8F-4C55-81E4-6EBBC38007D3}" presName="parentTextArrow" presStyleLbl="node1" presStyleIdx="4" presStyleCnt="8"/>
      <dgm:spPr/>
      <dgm:t>
        <a:bodyPr/>
        <a:lstStyle/>
        <a:p>
          <a:endParaRPr lang="en-US"/>
        </a:p>
      </dgm:t>
    </dgm:pt>
    <dgm:pt modelId="{28656B02-BFA1-4520-BAA9-B4FCAEC2EC96}" type="pres">
      <dgm:prSet presAssocID="{9D2CB7B9-895A-480C-9E80-8B95369020D0}" presName="sp" presStyleCnt="0"/>
      <dgm:spPr/>
    </dgm:pt>
    <dgm:pt modelId="{8DA316FC-D30F-426F-A734-0371424D353F}" type="pres">
      <dgm:prSet presAssocID="{5C1DF087-FBB3-403A-8CF7-D012CA9B52FE}" presName="arrowAndChildren" presStyleCnt="0"/>
      <dgm:spPr/>
    </dgm:pt>
    <dgm:pt modelId="{D67D1EA6-2451-4AFB-A239-B5AFEFDB8815}" type="pres">
      <dgm:prSet presAssocID="{5C1DF087-FBB3-403A-8CF7-D012CA9B52FE}" presName="parentTextArrow" presStyleLbl="node1" presStyleIdx="5" presStyleCnt="8" custLinFactNeighborX="-459"/>
      <dgm:spPr/>
      <dgm:t>
        <a:bodyPr/>
        <a:lstStyle/>
        <a:p>
          <a:endParaRPr lang="en-US"/>
        </a:p>
      </dgm:t>
    </dgm:pt>
    <dgm:pt modelId="{5BD7EEAB-97F1-4655-A9D0-5F6546FB544A}" type="pres">
      <dgm:prSet presAssocID="{C6DBE0F3-76C1-42F1-A6CD-7940CA126E78}" presName="sp" presStyleCnt="0"/>
      <dgm:spPr/>
    </dgm:pt>
    <dgm:pt modelId="{C5DC4E0C-63FC-4EE7-AC38-6C6ECA57FD67}" type="pres">
      <dgm:prSet presAssocID="{3F6C5A95-74C1-44B9-AC6F-055F53BBC881}" presName="arrowAndChildren" presStyleCnt="0"/>
      <dgm:spPr/>
    </dgm:pt>
    <dgm:pt modelId="{6E0B02CF-014A-4D62-831B-E811FCAD8009}" type="pres">
      <dgm:prSet presAssocID="{3F6C5A95-74C1-44B9-AC6F-055F53BBC881}" presName="parentTextArrow" presStyleLbl="node1" presStyleIdx="6" presStyleCnt="8"/>
      <dgm:spPr/>
      <dgm:t>
        <a:bodyPr/>
        <a:lstStyle/>
        <a:p>
          <a:endParaRPr lang="en-US"/>
        </a:p>
      </dgm:t>
    </dgm:pt>
    <dgm:pt modelId="{622DD938-2F23-4C7D-ABBC-7E6DBC8F4CA0}" type="pres">
      <dgm:prSet presAssocID="{026C707B-B097-4063-8ADD-804B6C064766}" presName="sp" presStyleCnt="0"/>
      <dgm:spPr/>
    </dgm:pt>
    <dgm:pt modelId="{31135273-3E86-42BB-904C-3FB22DCC346C}" type="pres">
      <dgm:prSet presAssocID="{DAC8BFF7-9647-4849-8CF9-B2CEE99842EE}" presName="arrowAndChildren" presStyleCnt="0"/>
      <dgm:spPr/>
    </dgm:pt>
    <dgm:pt modelId="{E561596C-C498-4BDF-BBFF-45DEB8DB2653}" type="pres">
      <dgm:prSet presAssocID="{DAC8BFF7-9647-4849-8CF9-B2CEE99842EE}" presName="parentTextArrow" presStyleLbl="node1" presStyleIdx="7" presStyleCnt="8"/>
      <dgm:spPr/>
      <dgm:t>
        <a:bodyPr/>
        <a:lstStyle/>
        <a:p>
          <a:endParaRPr lang="en-US"/>
        </a:p>
      </dgm:t>
    </dgm:pt>
  </dgm:ptLst>
  <dgm:cxnLst>
    <dgm:cxn modelId="{615CB200-8281-4997-A8F1-5976B5B2710B}" type="presOf" srcId="{5C1DF087-FBB3-403A-8CF7-D012CA9B52FE}" destId="{D67D1EA6-2451-4AFB-A239-B5AFEFDB8815}" srcOrd="0" destOrd="0" presId="urn:microsoft.com/office/officeart/2005/8/layout/process4"/>
    <dgm:cxn modelId="{5043D904-4BE3-4BB2-BB44-BC294233F4E7}" srcId="{E63B3902-E416-4C5B-AF43-EA7A204891D1}" destId="{DAC8BFF7-9647-4849-8CF9-B2CEE99842EE}" srcOrd="0" destOrd="0" parTransId="{7D627AE0-8AE1-4661-ADD9-AABDC139D7EE}" sibTransId="{026C707B-B097-4063-8ADD-804B6C064766}"/>
    <dgm:cxn modelId="{45993707-C038-4AC3-8041-B6049DF770DB}" type="presOf" srcId="{E63B3902-E416-4C5B-AF43-EA7A204891D1}" destId="{56BB26EE-2D1A-42A0-8FC2-7460DEC58A7A}" srcOrd="0" destOrd="0" presId="urn:microsoft.com/office/officeart/2005/8/layout/process4"/>
    <dgm:cxn modelId="{29CF2048-76E5-4BAA-8B09-C9B35D859574}" type="presOf" srcId="{3F6C5A95-74C1-44B9-AC6F-055F53BBC881}" destId="{6E0B02CF-014A-4D62-831B-E811FCAD8009}" srcOrd="0" destOrd="0" presId="urn:microsoft.com/office/officeart/2005/8/layout/process4"/>
    <dgm:cxn modelId="{3B19615A-0705-4277-A1A7-CAD9665388EB}" type="presOf" srcId="{18FBA1D7-702A-4410-A73F-EFCDA9B2FC37}" destId="{59F35799-7B2D-46A8-917C-441B97053FBC}" srcOrd="0" destOrd="0" presId="urn:microsoft.com/office/officeart/2005/8/layout/process4"/>
    <dgm:cxn modelId="{09D1410D-C768-4792-99D4-D0850D694E21}" srcId="{E63B3902-E416-4C5B-AF43-EA7A204891D1}" destId="{5C1DF087-FBB3-403A-8CF7-D012CA9B52FE}" srcOrd="2" destOrd="0" parTransId="{D699B579-5C7A-4218-BDB7-0B771BEDB820}" sibTransId="{9D2CB7B9-895A-480C-9E80-8B95369020D0}"/>
    <dgm:cxn modelId="{D07B1D56-6685-4ACA-A282-A8755E7B1885}" srcId="{E63B3902-E416-4C5B-AF43-EA7A204891D1}" destId="{18FBA1D7-702A-4410-A73F-EFCDA9B2FC37}" srcOrd="7" destOrd="0" parTransId="{857414F3-95A3-459A-A80B-9C598F3032BB}" sibTransId="{D6B7F930-F681-431F-84AD-54F9CB4FA7C9}"/>
    <dgm:cxn modelId="{C971B779-5E3C-40CF-A909-450F7DA521A1}" type="presOf" srcId="{A5A94484-A0D7-4248-BFAF-F525FA3B24FE}" destId="{BEF5F80E-B7F7-44B7-A0EE-5D2B305723AE}" srcOrd="0" destOrd="0" presId="urn:microsoft.com/office/officeart/2005/8/layout/process4"/>
    <dgm:cxn modelId="{71760999-78FF-47A9-B9E5-111C38577FA8}" type="presOf" srcId="{CA328C0E-5A8F-4C55-81E4-6EBBC38007D3}" destId="{1E41EC4C-5E99-4440-A691-4F3836E3FB6E}" srcOrd="0" destOrd="0" presId="urn:microsoft.com/office/officeart/2005/8/layout/process4"/>
    <dgm:cxn modelId="{BA002085-4245-4E90-BB87-90558BCFFC49}" type="presOf" srcId="{FC783153-AF29-4BBD-B46C-4A69CBCE0AD7}" destId="{EDB1AE90-2190-4598-B94D-DAF29DF40908}" srcOrd="0" destOrd="0" presId="urn:microsoft.com/office/officeart/2005/8/layout/process4"/>
    <dgm:cxn modelId="{739BE3F5-12D6-4D4B-A72C-B5F68E4E3073}" srcId="{E63B3902-E416-4C5B-AF43-EA7A204891D1}" destId="{E059CC8F-8B93-44D7-8EA4-4A87A9923542}" srcOrd="4" destOrd="0" parTransId="{5572FDC8-E1C0-4E3E-9C1C-80847537BA96}" sibTransId="{2A29FEA2-0CED-485C-88C0-A05BBB2DF194}"/>
    <dgm:cxn modelId="{FBE9D4C7-BE5A-406C-BEEA-E9EEDE7166D2}" srcId="{E63B3902-E416-4C5B-AF43-EA7A204891D1}" destId="{3F6C5A95-74C1-44B9-AC6F-055F53BBC881}" srcOrd="1" destOrd="0" parTransId="{5C798552-140A-44E4-BBC8-99A5FE280950}" sibTransId="{C6DBE0F3-76C1-42F1-A6CD-7940CA126E78}"/>
    <dgm:cxn modelId="{30C7350D-0413-4FFE-AEF8-5A0C81E8DE0C}" srcId="{E63B3902-E416-4C5B-AF43-EA7A204891D1}" destId="{CA328C0E-5A8F-4C55-81E4-6EBBC38007D3}" srcOrd="3" destOrd="0" parTransId="{913D7D30-664D-4CDF-AE52-A73EBAAF02EB}" sibTransId="{23482299-F43F-4457-B924-E53F0C96C4AA}"/>
    <dgm:cxn modelId="{773054B8-BC55-4252-8391-6B49F62BC950}" srcId="{E63B3902-E416-4C5B-AF43-EA7A204891D1}" destId="{FC783153-AF29-4BBD-B46C-4A69CBCE0AD7}" srcOrd="6" destOrd="0" parTransId="{A51FEF72-0015-4C91-BDAA-1CEBF11497D0}" sibTransId="{0504366D-655D-4BCA-9D1E-76C53922CC18}"/>
    <dgm:cxn modelId="{F3271A70-83E8-4DCB-9808-DA8050AE36CD}" type="presOf" srcId="{DAC8BFF7-9647-4849-8CF9-B2CEE99842EE}" destId="{E561596C-C498-4BDF-BBFF-45DEB8DB2653}" srcOrd="0" destOrd="0" presId="urn:microsoft.com/office/officeart/2005/8/layout/process4"/>
    <dgm:cxn modelId="{D9D2931D-AAA7-40A9-99FB-49D454B22BB7}" type="presOf" srcId="{E059CC8F-8B93-44D7-8EA4-4A87A9923542}" destId="{36097834-439F-445A-A3E9-79C8B0B3CA2A}" srcOrd="0" destOrd="0" presId="urn:microsoft.com/office/officeart/2005/8/layout/process4"/>
    <dgm:cxn modelId="{470A0935-0684-42D8-A3F8-5D87CC380A86}" srcId="{E63B3902-E416-4C5B-AF43-EA7A204891D1}" destId="{A5A94484-A0D7-4248-BFAF-F525FA3B24FE}" srcOrd="5" destOrd="0" parTransId="{2AE5F581-78CA-4CED-B43A-D65A7DF500DF}" sibTransId="{6CA6F13D-1F72-4854-8F4E-BD863F762FF2}"/>
    <dgm:cxn modelId="{F3E7021B-772D-4C93-9DAE-4A811FE26CAA}" type="presParOf" srcId="{56BB26EE-2D1A-42A0-8FC2-7460DEC58A7A}" destId="{55172C3F-4732-4B70-A590-CE0EDDA2C984}" srcOrd="0" destOrd="0" presId="urn:microsoft.com/office/officeart/2005/8/layout/process4"/>
    <dgm:cxn modelId="{BD80C3EE-25D9-47C9-9595-4EEBF187AE3B}" type="presParOf" srcId="{55172C3F-4732-4B70-A590-CE0EDDA2C984}" destId="{59F35799-7B2D-46A8-917C-441B97053FBC}" srcOrd="0" destOrd="0" presId="urn:microsoft.com/office/officeart/2005/8/layout/process4"/>
    <dgm:cxn modelId="{BA18E25B-2DF6-4156-B8F5-34FFAE7BEBD8}" type="presParOf" srcId="{56BB26EE-2D1A-42A0-8FC2-7460DEC58A7A}" destId="{BFD37F9C-00C8-40ED-B148-F16F83B6FAF9}" srcOrd="1" destOrd="0" presId="urn:microsoft.com/office/officeart/2005/8/layout/process4"/>
    <dgm:cxn modelId="{B9BBCA0E-EE50-4DA9-A234-C10DFA88E1BE}" type="presParOf" srcId="{56BB26EE-2D1A-42A0-8FC2-7460DEC58A7A}" destId="{1F1B3E0E-2BF3-42E3-9B3F-EC2B7ECDC0DF}" srcOrd="2" destOrd="0" presId="urn:microsoft.com/office/officeart/2005/8/layout/process4"/>
    <dgm:cxn modelId="{27C9D201-A9E4-4943-8F0E-67042F9ED9C9}" type="presParOf" srcId="{1F1B3E0E-2BF3-42E3-9B3F-EC2B7ECDC0DF}" destId="{EDB1AE90-2190-4598-B94D-DAF29DF40908}" srcOrd="0" destOrd="0" presId="urn:microsoft.com/office/officeart/2005/8/layout/process4"/>
    <dgm:cxn modelId="{A4A0DF23-E993-4867-9FA1-FB1D96F403FF}" type="presParOf" srcId="{56BB26EE-2D1A-42A0-8FC2-7460DEC58A7A}" destId="{06007EB0-742D-4688-88D1-C2EC160355AC}" srcOrd="3" destOrd="0" presId="urn:microsoft.com/office/officeart/2005/8/layout/process4"/>
    <dgm:cxn modelId="{79019C27-9A79-4E69-A405-AB4A91FA4B0C}" type="presParOf" srcId="{56BB26EE-2D1A-42A0-8FC2-7460DEC58A7A}" destId="{F7F17886-C9E1-4676-815C-DE8944072050}" srcOrd="4" destOrd="0" presId="urn:microsoft.com/office/officeart/2005/8/layout/process4"/>
    <dgm:cxn modelId="{C40FC892-3C6D-4474-B4A2-B9AB45443CF8}" type="presParOf" srcId="{F7F17886-C9E1-4676-815C-DE8944072050}" destId="{BEF5F80E-B7F7-44B7-A0EE-5D2B305723AE}" srcOrd="0" destOrd="0" presId="urn:microsoft.com/office/officeart/2005/8/layout/process4"/>
    <dgm:cxn modelId="{4BAFA652-A550-4136-8F6A-91ECAB33E906}" type="presParOf" srcId="{56BB26EE-2D1A-42A0-8FC2-7460DEC58A7A}" destId="{BDA5876D-BB3B-44E0-8B55-D71755B3D3A6}" srcOrd="5" destOrd="0" presId="urn:microsoft.com/office/officeart/2005/8/layout/process4"/>
    <dgm:cxn modelId="{53EF0E35-ED47-4A23-87FE-C18AA95BD92A}" type="presParOf" srcId="{56BB26EE-2D1A-42A0-8FC2-7460DEC58A7A}" destId="{37D1D6F5-9492-41E9-A03B-E3D57C33F701}" srcOrd="6" destOrd="0" presId="urn:microsoft.com/office/officeart/2005/8/layout/process4"/>
    <dgm:cxn modelId="{7B318D2F-1261-4F85-AAC9-86F54EBB1931}" type="presParOf" srcId="{37D1D6F5-9492-41E9-A03B-E3D57C33F701}" destId="{36097834-439F-445A-A3E9-79C8B0B3CA2A}" srcOrd="0" destOrd="0" presId="urn:microsoft.com/office/officeart/2005/8/layout/process4"/>
    <dgm:cxn modelId="{659BEE9C-B719-42A4-B395-48468795800F}" type="presParOf" srcId="{56BB26EE-2D1A-42A0-8FC2-7460DEC58A7A}" destId="{CE79C45F-4302-4796-963B-CF7D13759BC1}" srcOrd="7" destOrd="0" presId="urn:microsoft.com/office/officeart/2005/8/layout/process4"/>
    <dgm:cxn modelId="{444156A6-950A-49C0-AFB6-E1F18D6A8AAC}" type="presParOf" srcId="{56BB26EE-2D1A-42A0-8FC2-7460DEC58A7A}" destId="{C8BAD7CF-C47F-4446-BB19-63CC145837E9}" srcOrd="8" destOrd="0" presId="urn:microsoft.com/office/officeart/2005/8/layout/process4"/>
    <dgm:cxn modelId="{DAB95EBD-51D1-466C-A31C-5C1D7FB0822C}" type="presParOf" srcId="{C8BAD7CF-C47F-4446-BB19-63CC145837E9}" destId="{1E41EC4C-5E99-4440-A691-4F3836E3FB6E}" srcOrd="0" destOrd="0" presId="urn:microsoft.com/office/officeart/2005/8/layout/process4"/>
    <dgm:cxn modelId="{ADDD165C-AF55-46D0-94EB-039773BDFB2F}" type="presParOf" srcId="{56BB26EE-2D1A-42A0-8FC2-7460DEC58A7A}" destId="{28656B02-BFA1-4520-BAA9-B4FCAEC2EC96}" srcOrd="9" destOrd="0" presId="urn:microsoft.com/office/officeart/2005/8/layout/process4"/>
    <dgm:cxn modelId="{443DD957-FE61-4B52-B341-8D15F8DF0541}" type="presParOf" srcId="{56BB26EE-2D1A-42A0-8FC2-7460DEC58A7A}" destId="{8DA316FC-D30F-426F-A734-0371424D353F}" srcOrd="10" destOrd="0" presId="urn:microsoft.com/office/officeart/2005/8/layout/process4"/>
    <dgm:cxn modelId="{191C197E-CFAB-4297-BC10-7801258D4531}" type="presParOf" srcId="{8DA316FC-D30F-426F-A734-0371424D353F}" destId="{D67D1EA6-2451-4AFB-A239-B5AFEFDB8815}" srcOrd="0" destOrd="0" presId="urn:microsoft.com/office/officeart/2005/8/layout/process4"/>
    <dgm:cxn modelId="{03805C94-9F76-40ED-A17A-D794DD23357D}" type="presParOf" srcId="{56BB26EE-2D1A-42A0-8FC2-7460DEC58A7A}" destId="{5BD7EEAB-97F1-4655-A9D0-5F6546FB544A}" srcOrd="11" destOrd="0" presId="urn:microsoft.com/office/officeart/2005/8/layout/process4"/>
    <dgm:cxn modelId="{4F9997ED-75C9-4645-B5C6-EED2023EE6CC}" type="presParOf" srcId="{56BB26EE-2D1A-42A0-8FC2-7460DEC58A7A}" destId="{C5DC4E0C-63FC-4EE7-AC38-6C6ECA57FD67}" srcOrd="12" destOrd="0" presId="urn:microsoft.com/office/officeart/2005/8/layout/process4"/>
    <dgm:cxn modelId="{620A5042-731C-4487-94C3-7DA8F4A2FDEF}" type="presParOf" srcId="{C5DC4E0C-63FC-4EE7-AC38-6C6ECA57FD67}" destId="{6E0B02CF-014A-4D62-831B-E811FCAD8009}" srcOrd="0" destOrd="0" presId="urn:microsoft.com/office/officeart/2005/8/layout/process4"/>
    <dgm:cxn modelId="{0BC616A3-1A9A-4C48-A74C-BA1CC8328001}" type="presParOf" srcId="{56BB26EE-2D1A-42A0-8FC2-7460DEC58A7A}" destId="{622DD938-2F23-4C7D-ABBC-7E6DBC8F4CA0}" srcOrd="13" destOrd="0" presId="urn:microsoft.com/office/officeart/2005/8/layout/process4"/>
    <dgm:cxn modelId="{AAEC3514-DD3B-4C0E-A373-8852B0DB2951}" type="presParOf" srcId="{56BB26EE-2D1A-42A0-8FC2-7460DEC58A7A}" destId="{31135273-3E86-42BB-904C-3FB22DCC346C}" srcOrd="14" destOrd="0" presId="urn:microsoft.com/office/officeart/2005/8/layout/process4"/>
    <dgm:cxn modelId="{7B4A4A7D-0C18-4A80-A738-E38AC80A7C4F}" type="presParOf" srcId="{31135273-3E86-42BB-904C-3FB22DCC346C}" destId="{E561596C-C498-4BDF-BBFF-45DEB8DB2653}" srcOrd="0" destOrd="0" presId="urn:microsoft.com/office/officeart/2005/8/layout/process4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C38E0FD-85E0-42C6-AAEE-8164E8E05BF5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9B69CA72-98E3-49CB-A1CC-79DE827059DA}">
      <dgm:prSet phldrT="[Text]" custT="1"/>
      <dgm:spPr/>
      <dgm:t>
        <a:bodyPr/>
        <a:lstStyle/>
        <a:p>
          <a:r>
            <a:rPr lang="en-GB" sz="1800" b="1" dirty="0" smtClean="0"/>
            <a:t>Plan	</a:t>
          </a:r>
          <a:endParaRPr lang="en-US" sz="1800" b="1" dirty="0"/>
        </a:p>
      </dgm:t>
    </dgm:pt>
    <dgm:pt modelId="{11A13A15-821C-4FBC-B10D-8A15711C71FD}" type="parTrans" cxnId="{5F080261-89B0-41AD-99BB-4FB1B132A73C}">
      <dgm:prSet/>
      <dgm:spPr/>
      <dgm:t>
        <a:bodyPr/>
        <a:lstStyle/>
        <a:p>
          <a:endParaRPr lang="en-US" sz="1100" b="1"/>
        </a:p>
      </dgm:t>
    </dgm:pt>
    <dgm:pt modelId="{3720C9F0-0A3B-4DE9-9E47-B8B01DF9AA09}" type="sibTrans" cxnId="{5F080261-89B0-41AD-99BB-4FB1B132A73C}">
      <dgm:prSet/>
      <dgm:spPr/>
      <dgm:t>
        <a:bodyPr/>
        <a:lstStyle/>
        <a:p>
          <a:endParaRPr lang="en-US" sz="1100" b="1"/>
        </a:p>
      </dgm:t>
    </dgm:pt>
    <dgm:pt modelId="{20A9B23B-3291-4FF6-9DEB-3B76A044CBB1}">
      <dgm:prSet phldrT="[Text]" custT="1"/>
      <dgm:spPr/>
      <dgm:t>
        <a:bodyPr/>
        <a:lstStyle/>
        <a:p>
          <a:r>
            <a:rPr lang="en-GB" sz="1800" b="1" dirty="0" smtClean="0"/>
            <a:t>Code</a:t>
          </a:r>
          <a:endParaRPr lang="en-US" sz="1800" b="1" dirty="0"/>
        </a:p>
      </dgm:t>
    </dgm:pt>
    <dgm:pt modelId="{90E5A25A-EE43-492F-8551-9F6C7D77FEE8}" type="parTrans" cxnId="{B08A68F4-21F5-4037-A284-C97BD5946D49}">
      <dgm:prSet/>
      <dgm:spPr/>
      <dgm:t>
        <a:bodyPr/>
        <a:lstStyle/>
        <a:p>
          <a:endParaRPr lang="en-US" sz="1100" b="1"/>
        </a:p>
      </dgm:t>
    </dgm:pt>
    <dgm:pt modelId="{15142ED8-2956-4CD5-95E3-144D103ABC4F}" type="sibTrans" cxnId="{B08A68F4-21F5-4037-A284-C97BD5946D49}">
      <dgm:prSet/>
      <dgm:spPr/>
      <dgm:t>
        <a:bodyPr/>
        <a:lstStyle/>
        <a:p>
          <a:endParaRPr lang="en-US" sz="1100" b="1"/>
        </a:p>
      </dgm:t>
    </dgm:pt>
    <dgm:pt modelId="{9BD33C58-AA5F-4009-9312-04B52A8186C9}">
      <dgm:prSet phldrT="[Text]" custT="1"/>
      <dgm:spPr/>
      <dgm:t>
        <a:bodyPr/>
        <a:lstStyle/>
        <a:p>
          <a:r>
            <a:rPr lang="en-GB" sz="1800" b="1" dirty="0" smtClean="0"/>
            <a:t>Build</a:t>
          </a:r>
          <a:endParaRPr lang="en-US" sz="1800" b="1" dirty="0"/>
        </a:p>
      </dgm:t>
    </dgm:pt>
    <dgm:pt modelId="{169ECE03-55FB-4DF4-BED7-3F0385CE85DD}" type="parTrans" cxnId="{86CBD050-55DF-4DFF-BA66-69E2F11AE749}">
      <dgm:prSet/>
      <dgm:spPr/>
      <dgm:t>
        <a:bodyPr/>
        <a:lstStyle/>
        <a:p>
          <a:endParaRPr lang="en-US" sz="1100" b="1"/>
        </a:p>
      </dgm:t>
    </dgm:pt>
    <dgm:pt modelId="{BFCEB28A-547D-42DD-AC96-490D1339A551}" type="sibTrans" cxnId="{86CBD050-55DF-4DFF-BA66-69E2F11AE749}">
      <dgm:prSet/>
      <dgm:spPr/>
      <dgm:t>
        <a:bodyPr/>
        <a:lstStyle/>
        <a:p>
          <a:endParaRPr lang="en-US" sz="1100" b="1"/>
        </a:p>
      </dgm:t>
    </dgm:pt>
    <dgm:pt modelId="{3E540F91-7293-4380-B37D-7C993271DFFF}">
      <dgm:prSet phldrT="[Text]" custT="1"/>
      <dgm:spPr/>
      <dgm:t>
        <a:bodyPr/>
        <a:lstStyle/>
        <a:p>
          <a:r>
            <a:rPr lang="en-GB" sz="1800" b="1" dirty="0" smtClean="0"/>
            <a:t>Deploy</a:t>
          </a:r>
        </a:p>
      </dgm:t>
    </dgm:pt>
    <dgm:pt modelId="{8842D4E1-E92A-4B71-86F4-2D705A1AD593}" type="parTrans" cxnId="{C6BE00DD-3D4E-4A30-B065-A0CA47E59311}">
      <dgm:prSet/>
      <dgm:spPr/>
      <dgm:t>
        <a:bodyPr/>
        <a:lstStyle/>
        <a:p>
          <a:endParaRPr lang="en-US" sz="1100" b="1"/>
        </a:p>
      </dgm:t>
    </dgm:pt>
    <dgm:pt modelId="{16671B72-6598-462F-B550-7F9ABEF8FCC8}" type="sibTrans" cxnId="{C6BE00DD-3D4E-4A30-B065-A0CA47E59311}">
      <dgm:prSet/>
      <dgm:spPr/>
      <dgm:t>
        <a:bodyPr/>
        <a:lstStyle/>
        <a:p>
          <a:endParaRPr lang="en-US" sz="1100" b="1"/>
        </a:p>
      </dgm:t>
    </dgm:pt>
    <dgm:pt modelId="{A821A107-27F6-48B0-BFF1-76B3C6F84799}">
      <dgm:prSet phldrT="[Text]" custT="1"/>
      <dgm:spPr/>
      <dgm:t>
        <a:bodyPr/>
        <a:lstStyle/>
        <a:p>
          <a:r>
            <a:rPr lang="en-GB" sz="1800" b="1" dirty="0" smtClean="0"/>
            <a:t>Operate</a:t>
          </a:r>
        </a:p>
      </dgm:t>
    </dgm:pt>
    <dgm:pt modelId="{8DE5F33F-3916-4DE7-8999-A4833CD5E7FA}" type="parTrans" cxnId="{89CE968A-9D05-428D-B088-EAB21737917F}">
      <dgm:prSet/>
      <dgm:spPr/>
      <dgm:t>
        <a:bodyPr/>
        <a:lstStyle/>
        <a:p>
          <a:endParaRPr lang="en-US" b="1"/>
        </a:p>
      </dgm:t>
    </dgm:pt>
    <dgm:pt modelId="{46F2480D-702B-4D6A-9E79-D5B4CCF4FA26}" type="sibTrans" cxnId="{89CE968A-9D05-428D-B088-EAB21737917F}">
      <dgm:prSet/>
      <dgm:spPr/>
      <dgm:t>
        <a:bodyPr/>
        <a:lstStyle/>
        <a:p>
          <a:endParaRPr lang="en-US" b="1"/>
        </a:p>
      </dgm:t>
    </dgm:pt>
    <dgm:pt modelId="{EE517283-0A7E-4C73-B9CC-6E4F096CDE72}">
      <dgm:prSet phldrT="[Text]" custT="1"/>
      <dgm:spPr/>
      <dgm:t>
        <a:bodyPr/>
        <a:lstStyle/>
        <a:p>
          <a:r>
            <a:rPr lang="en-GB" sz="1800" b="1" dirty="0" smtClean="0"/>
            <a:t>Test</a:t>
          </a:r>
        </a:p>
      </dgm:t>
    </dgm:pt>
    <dgm:pt modelId="{D849F3D9-4FC1-47F6-8AFA-C614860C4028}" type="parTrans" cxnId="{1AE06A6B-75B5-426E-91FA-4AE5B6451C16}">
      <dgm:prSet/>
      <dgm:spPr/>
      <dgm:t>
        <a:bodyPr/>
        <a:lstStyle/>
        <a:p>
          <a:endParaRPr lang="en-US" b="1"/>
        </a:p>
      </dgm:t>
    </dgm:pt>
    <dgm:pt modelId="{95F5896E-4FBA-4D48-AD4D-348A469B9317}" type="sibTrans" cxnId="{1AE06A6B-75B5-426E-91FA-4AE5B6451C16}">
      <dgm:prSet/>
      <dgm:spPr/>
      <dgm:t>
        <a:bodyPr/>
        <a:lstStyle/>
        <a:p>
          <a:endParaRPr lang="en-US" b="1"/>
        </a:p>
      </dgm:t>
    </dgm:pt>
    <dgm:pt modelId="{083819C5-C1A3-4908-8216-9F502C7BD10D}" type="pres">
      <dgm:prSet presAssocID="{6C38E0FD-85E0-42C6-AAEE-8164E8E05BF5}" presName="Name0" presStyleCnt="0">
        <dgm:presLayoutVars>
          <dgm:dir/>
          <dgm:resizeHandles val="exact"/>
        </dgm:presLayoutVars>
      </dgm:prSet>
      <dgm:spPr/>
    </dgm:pt>
    <dgm:pt modelId="{6F26DFA0-0F2F-440A-83A8-08E8A765AFB9}" type="pres">
      <dgm:prSet presAssocID="{9B69CA72-98E3-49CB-A1CC-79DE827059DA}" presName="parTxOnly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79B7971-E625-47BA-B21D-44D0610F15DE}" type="pres">
      <dgm:prSet presAssocID="{3720C9F0-0A3B-4DE9-9E47-B8B01DF9AA09}" presName="parSpace" presStyleCnt="0"/>
      <dgm:spPr/>
    </dgm:pt>
    <dgm:pt modelId="{6821001C-BFC3-402F-8123-A6EDB85881F5}" type="pres">
      <dgm:prSet presAssocID="{20A9B23B-3291-4FF6-9DEB-3B76A044CBB1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6CC22F8-EE55-4A8B-9C6F-100DAECA4695}" type="pres">
      <dgm:prSet presAssocID="{15142ED8-2956-4CD5-95E3-144D103ABC4F}" presName="parSpace" presStyleCnt="0"/>
      <dgm:spPr/>
    </dgm:pt>
    <dgm:pt modelId="{20425A72-7410-497A-A322-FB2F26315492}" type="pres">
      <dgm:prSet presAssocID="{9BD33C58-AA5F-4009-9312-04B52A8186C9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6D99FB9-9B39-4EAF-86BF-CF1A334D5610}" type="pres">
      <dgm:prSet presAssocID="{BFCEB28A-547D-42DD-AC96-490D1339A551}" presName="parSpace" presStyleCnt="0"/>
      <dgm:spPr/>
    </dgm:pt>
    <dgm:pt modelId="{36AF1607-BD16-4366-A232-CE080B7FE9C3}" type="pres">
      <dgm:prSet presAssocID="{3E540F91-7293-4380-B37D-7C993271DFFF}" presName="parTxOnly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B40AD30-9C22-4E61-8601-AF39E407A14B}" type="pres">
      <dgm:prSet presAssocID="{16671B72-6598-462F-B550-7F9ABEF8FCC8}" presName="parSpace" presStyleCnt="0"/>
      <dgm:spPr/>
    </dgm:pt>
    <dgm:pt modelId="{EB5FA514-8228-4D1F-A1F8-B936D8D25637}" type="pres">
      <dgm:prSet presAssocID="{EE517283-0A7E-4C73-B9CC-6E4F096CDE72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B8255D6-2BC3-4BF9-BF55-2C9747FE4E5C}" type="pres">
      <dgm:prSet presAssocID="{95F5896E-4FBA-4D48-AD4D-348A469B9317}" presName="parSpace" presStyleCnt="0"/>
      <dgm:spPr/>
    </dgm:pt>
    <dgm:pt modelId="{424D1E03-5569-4CA9-9235-C7D044ED90DE}" type="pres">
      <dgm:prSet presAssocID="{A821A107-27F6-48B0-BFF1-76B3C6F84799}" presName="parTxOnly" presStyleLbl="node1" presStyleIdx="5" presStyleCnt="6" custLinFactX="27404" custLinFactNeighborX="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6CBD050-55DF-4DFF-BA66-69E2F11AE749}" srcId="{6C38E0FD-85E0-42C6-AAEE-8164E8E05BF5}" destId="{9BD33C58-AA5F-4009-9312-04B52A8186C9}" srcOrd="2" destOrd="0" parTransId="{169ECE03-55FB-4DF4-BED7-3F0385CE85DD}" sibTransId="{BFCEB28A-547D-42DD-AC96-490D1339A551}"/>
    <dgm:cxn modelId="{5F080261-89B0-41AD-99BB-4FB1B132A73C}" srcId="{6C38E0FD-85E0-42C6-AAEE-8164E8E05BF5}" destId="{9B69CA72-98E3-49CB-A1CC-79DE827059DA}" srcOrd="0" destOrd="0" parTransId="{11A13A15-821C-4FBC-B10D-8A15711C71FD}" sibTransId="{3720C9F0-0A3B-4DE9-9E47-B8B01DF9AA09}"/>
    <dgm:cxn modelId="{549B772F-442D-473B-96B9-2D585D92CA17}" type="presOf" srcId="{6C38E0FD-85E0-42C6-AAEE-8164E8E05BF5}" destId="{083819C5-C1A3-4908-8216-9F502C7BD10D}" srcOrd="0" destOrd="0" presId="urn:microsoft.com/office/officeart/2005/8/layout/hChevron3"/>
    <dgm:cxn modelId="{85CC8C72-1C51-4C87-AA52-156D2268F843}" type="presOf" srcId="{EE517283-0A7E-4C73-B9CC-6E4F096CDE72}" destId="{EB5FA514-8228-4D1F-A1F8-B936D8D25637}" srcOrd="0" destOrd="0" presId="urn:microsoft.com/office/officeart/2005/8/layout/hChevron3"/>
    <dgm:cxn modelId="{0F686289-0B45-40A9-8F32-64CA3F203461}" type="presOf" srcId="{A821A107-27F6-48B0-BFF1-76B3C6F84799}" destId="{424D1E03-5569-4CA9-9235-C7D044ED90DE}" srcOrd="0" destOrd="0" presId="urn:microsoft.com/office/officeart/2005/8/layout/hChevron3"/>
    <dgm:cxn modelId="{2ECAFF08-D3C9-4F0B-8A8F-AB8CC5508213}" type="presOf" srcId="{3E540F91-7293-4380-B37D-7C993271DFFF}" destId="{36AF1607-BD16-4366-A232-CE080B7FE9C3}" srcOrd="0" destOrd="0" presId="urn:microsoft.com/office/officeart/2005/8/layout/hChevron3"/>
    <dgm:cxn modelId="{1AE06A6B-75B5-426E-91FA-4AE5B6451C16}" srcId="{6C38E0FD-85E0-42C6-AAEE-8164E8E05BF5}" destId="{EE517283-0A7E-4C73-B9CC-6E4F096CDE72}" srcOrd="4" destOrd="0" parTransId="{D849F3D9-4FC1-47F6-8AFA-C614860C4028}" sibTransId="{95F5896E-4FBA-4D48-AD4D-348A469B9317}"/>
    <dgm:cxn modelId="{D077716D-6910-4672-B70F-A5CB14E2B16F}" type="presOf" srcId="{20A9B23B-3291-4FF6-9DEB-3B76A044CBB1}" destId="{6821001C-BFC3-402F-8123-A6EDB85881F5}" srcOrd="0" destOrd="0" presId="urn:microsoft.com/office/officeart/2005/8/layout/hChevron3"/>
    <dgm:cxn modelId="{6248ABE6-C4DE-4995-A8F8-44F5C7233A03}" type="presOf" srcId="{9B69CA72-98E3-49CB-A1CC-79DE827059DA}" destId="{6F26DFA0-0F2F-440A-83A8-08E8A765AFB9}" srcOrd="0" destOrd="0" presId="urn:microsoft.com/office/officeart/2005/8/layout/hChevron3"/>
    <dgm:cxn modelId="{89CE968A-9D05-428D-B088-EAB21737917F}" srcId="{6C38E0FD-85E0-42C6-AAEE-8164E8E05BF5}" destId="{A821A107-27F6-48B0-BFF1-76B3C6F84799}" srcOrd="5" destOrd="0" parTransId="{8DE5F33F-3916-4DE7-8999-A4833CD5E7FA}" sibTransId="{46F2480D-702B-4D6A-9E79-D5B4CCF4FA26}"/>
    <dgm:cxn modelId="{B08A68F4-21F5-4037-A284-C97BD5946D49}" srcId="{6C38E0FD-85E0-42C6-AAEE-8164E8E05BF5}" destId="{20A9B23B-3291-4FF6-9DEB-3B76A044CBB1}" srcOrd="1" destOrd="0" parTransId="{90E5A25A-EE43-492F-8551-9F6C7D77FEE8}" sibTransId="{15142ED8-2956-4CD5-95E3-144D103ABC4F}"/>
    <dgm:cxn modelId="{7C675F51-58EF-49E0-A7FA-2AA119E0AD6D}" type="presOf" srcId="{9BD33C58-AA5F-4009-9312-04B52A8186C9}" destId="{20425A72-7410-497A-A322-FB2F26315492}" srcOrd="0" destOrd="0" presId="urn:microsoft.com/office/officeart/2005/8/layout/hChevron3"/>
    <dgm:cxn modelId="{C6BE00DD-3D4E-4A30-B065-A0CA47E59311}" srcId="{6C38E0FD-85E0-42C6-AAEE-8164E8E05BF5}" destId="{3E540F91-7293-4380-B37D-7C993271DFFF}" srcOrd="3" destOrd="0" parTransId="{8842D4E1-E92A-4B71-86F4-2D705A1AD593}" sibTransId="{16671B72-6598-462F-B550-7F9ABEF8FCC8}"/>
    <dgm:cxn modelId="{9C3002FD-37EA-43DF-B639-D38687DA4DA2}" type="presParOf" srcId="{083819C5-C1A3-4908-8216-9F502C7BD10D}" destId="{6F26DFA0-0F2F-440A-83A8-08E8A765AFB9}" srcOrd="0" destOrd="0" presId="urn:microsoft.com/office/officeart/2005/8/layout/hChevron3"/>
    <dgm:cxn modelId="{9AA2F3D2-1CAE-49D9-9AE1-2C7C51A7B338}" type="presParOf" srcId="{083819C5-C1A3-4908-8216-9F502C7BD10D}" destId="{779B7971-E625-47BA-B21D-44D0610F15DE}" srcOrd="1" destOrd="0" presId="urn:microsoft.com/office/officeart/2005/8/layout/hChevron3"/>
    <dgm:cxn modelId="{0C4FE7C1-3D77-4D8F-85CA-F647752A7009}" type="presParOf" srcId="{083819C5-C1A3-4908-8216-9F502C7BD10D}" destId="{6821001C-BFC3-402F-8123-A6EDB85881F5}" srcOrd="2" destOrd="0" presId="urn:microsoft.com/office/officeart/2005/8/layout/hChevron3"/>
    <dgm:cxn modelId="{16A746EF-FC70-49CF-B93F-B267A5087A5C}" type="presParOf" srcId="{083819C5-C1A3-4908-8216-9F502C7BD10D}" destId="{26CC22F8-EE55-4A8B-9C6F-100DAECA4695}" srcOrd="3" destOrd="0" presId="urn:microsoft.com/office/officeart/2005/8/layout/hChevron3"/>
    <dgm:cxn modelId="{46A5F395-ECB7-44F3-9768-93D376A8A49A}" type="presParOf" srcId="{083819C5-C1A3-4908-8216-9F502C7BD10D}" destId="{20425A72-7410-497A-A322-FB2F26315492}" srcOrd="4" destOrd="0" presId="urn:microsoft.com/office/officeart/2005/8/layout/hChevron3"/>
    <dgm:cxn modelId="{CF082754-AB53-4170-A67B-B611A9BB770C}" type="presParOf" srcId="{083819C5-C1A3-4908-8216-9F502C7BD10D}" destId="{B6D99FB9-9B39-4EAF-86BF-CF1A334D5610}" srcOrd="5" destOrd="0" presId="urn:microsoft.com/office/officeart/2005/8/layout/hChevron3"/>
    <dgm:cxn modelId="{6E377746-1BD8-4494-80D4-314999131E55}" type="presParOf" srcId="{083819C5-C1A3-4908-8216-9F502C7BD10D}" destId="{36AF1607-BD16-4366-A232-CE080B7FE9C3}" srcOrd="6" destOrd="0" presId="urn:microsoft.com/office/officeart/2005/8/layout/hChevron3"/>
    <dgm:cxn modelId="{EA06F5D6-DB16-4DAE-BC97-40C1E7898FD5}" type="presParOf" srcId="{083819C5-C1A3-4908-8216-9F502C7BD10D}" destId="{9B40AD30-9C22-4E61-8601-AF39E407A14B}" srcOrd="7" destOrd="0" presId="urn:microsoft.com/office/officeart/2005/8/layout/hChevron3"/>
    <dgm:cxn modelId="{D10FC929-7248-401A-B7A4-C9CA44D803E8}" type="presParOf" srcId="{083819C5-C1A3-4908-8216-9F502C7BD10D}" destId="{EB5FA514-8228-4D1F-A1F8-B936D8D25637}" srcOrd="8" destOrd="0" presId="urn:microsoft.com/office/officeart/2005/8/layout/hChevron3"/>
    <dgm:cxn modelId="{C4D652F0-57D1-4250-8263-8A921A8DE612}" type="presParOf" srcId="{083819C5-C1A3-4908-8216-9F502C7BD10D}" destId="{1B8255D6-2BC3-4BF9-BF55-2C9747FE4E5C}" srcOrd="9" destOrd="0" presId="urn:microsoft.com/office/officeart/2005/8/layout/hChevron3"/>
    <dgm:cxn modelId="{E29605F0-FE8D-414F-B605-685FA2D1DFC7}" type="presParOf" srcId="{083819C5-C1A3-4908-8216-9F502C7BD10D}" destId="{424D1E03-5569-4CA9-9235-C7D044ED90DE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DD11825-6C43-49CB-A439-01DA82DA6568}" type="doc">
      <dgm:prSet loTypeId="urn:microsoft.com/office/officeart/2005/8/layout/hChevron3" loCatId="process" qsTypeId="urn:microsoft.com/office/officeart/2005/8/quickstyle/simple1" qsCatId="simple" csTypeId="urn:microsoft.com/office/officeart/2005/8/colors/colorful5" csCatId="colorful" phldr="1"/>
      <dgm:spPr/>
    </dgm:pt>
    <dgm:pt modelId="{A9E0E6C7-C87F-407F-933E-863EFF121126}">
      <dgm:prSet phldrT="[Text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US" sz="1000" dirty="0"/>
        </a:p>
      </dgm:t>
    </dgm:pt>
    <dgm:pt modelId="{C190394F-69FF-4BD7-80EB-2CAFBB7AA5AE}" type="parTrans" cxnId="{9478DB45-E5E3-44BF-8483-3F995A167F73}">
      <dgm:prSet/>
      <dgm:spPr/>
      <dgm:t>
        <a:bodyPr/>
        <a:lstStyle/>
        <a:p>
          <a:endParaRPr lang="en-US" sz="1100"/>
        </a:p>
      </dgm:t>
    </dgm:pt>
    <dgm:pt modelId="{B710A0BB-46B6-456B-826D-55C91C3F96F5}" type="sibTrans" cxnId="{9478DB45-E5E3-44BF-8483-3F995A167F73}">
      <dgm:prSet/>
      <dgm:spPr/>
      <dgm:t>
        <a:bodyPr/>
        <a:lstStyle/>
        <a:p>
          <a:endParaRPr lang="en-US" sz="1100"/>
        </a:p>
      </dgm:t>
    </dgm:pt>
    <dgm:pt modelId="{CD430E7B-D92E-4B02-A62B-2F0369039F0B}" type="pres">
      <dgm:prSet presAssocID="{EDD11825-6C43-49CB-A439-01DA82DA6568}" presName="Name0" presStyleCnt="0">
        <dgm:presLayoutVars>
          <dgm:dir/>
          <dgm:resizeHandles val="exact"/>
        </dgm:presLayoutVars>
      </dgm:prSet>
      <dgm:spPr/>
    </dgm:pt>
    <dgm:pt modelId="{06679A4D-DC4C-421E-A8D1-29FA90BA51E2}" type="pres">
      <dgm:prSet presAssocID="{A9E0E6C7-C87F-407F-933E-863EFF121126}" presName="parTxOnly" presStyleLbl="node1" presStyleIdx="0" presStyleCnt="1" custScaleX="34598" custScaleY="25866" custLinFactNeighborY="-127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90D1AB7-99EA-4E01-9A33-77A6726B9E9F}" type="presOf" srcId="{EDD11825-6C43-49CB-A439-01DA82DA6568}" destId="{CD430E7B-D92E-4B02-A62B-2F0369039F0B}" srcOrd="0" destOrd="0" presId="urn:microsoft.com/office/officeart/2005/8/layout/hChevron3"/>
    <dgm:cxn modelId="{9478DB45-E5E3-44BF-8483-3F995A167F73}" srcId="{EDD11825-6C43-49CB-A439-01DA82DA6568}" destId="{A9E0E6C7-C87F-407F-933E-863EFF121126}" srcOrd="0" destOrd="0" parTransId="{C190394F-69FF-4BD7-80EB-2CAFBB7AA5AE}" sibTransId="{B710A0BB-46B6-456B-826D-55C91C3F96F5}"/>
    <dgm:cxn modelId="{A204513E-A8F8-493A-A3B3-BD83C67BFB30}" type="presOf" srcId="{A9E0E6C7-C87F-407F-933E-863EFF121126}" destId="{06679A4D-DC4C-421E-A8D1-29FA90BA51E2}" srcOrd="0" destOrd="0" presId="urn:microsoft.com/office/officeart/2005/8/layout/hChevron3"/>
    <dgm:cxn modelId="{DFC2DB7B-A346-4B50-A772-8B717A918E00}" type="presParOf" srcId="{CD430E7B-D92E-4B02-A62B-2F0369039F0B}" destId="{06679A4D-DC4C-421E-A8D1-29FA90BA51E2}" srcOrd="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DD11825-6C43-49CB-A439-01DA82DA6568}" type="doc">
      <dgm:prSet loTypeId="urn:microsoft.com/office/officeart/2005/8/layout/hChevron3" loCatId="process" qsTypeId="urn:microsoft.com/office/officeart/2005/8/quickstyle/simple1" qsCatId="simple" csTypeId="urn:microsoft.com/office/officeart/2005/8/colors/colorful5" csCatId="colorful" phldr="1"/>
      <dgm:spPr/>
    </dgm:pt>
    <dgm:pt modelId="{A9E0E6C7-C87F-407F-933E-863EFF121126}">
      <dgm:prSet phldrT="[Text]" custT="1"/>
      <dgm:spPr>
        <a:solidFill>
          <a:schemeClr val="tx2">
            <a:lumMod val="75000"/>
          </a:schemeClr>
        </a:solidFill>
      </dgm:spPr>
      <dgm:t>
        <a:bodyPr/>
        <a:lstStyle/>
        <a:p>
          <a:endParaRPr lang="en-US" sz="1000" dirty="0"/>
        </a:p>
      </dgm:t>
    </dgm:pt>
    <dgm:pt modelId="{C190394F-69FF-4BD7-80EB-2CAFBB7AA5AE}" type="parTrans" cxnId="{9478DB45-E5E3-44BF-8483-3F995A167F73}">
      <dgm:prSet/>
      <dgm:spPr/>
      <dgm:t>
        <a:bodyPr/>
        <a:lstStyle/>
        <a:p>
          <a:endParaRPr lang="en-US" sz="1100"/>
        </a:p>
      </dgm:t>
    </dgm:pt>
    <dgm:pt modelId="{B710A0BB-46B6-456B-826D-55C91C3F96F5}" type="sibTrans" cxnId="{9478DB45-E5E3-44BF-8483-3F995A167F73}">
      <dgm:prSet/>
      <dgm:spPr/>
      <dgm:t>
        <a:bodyPr/>
        <a:lstStyle/>
        <a:p>
          <a:endParaRPr lang="en-US" sz="1100"/>
        </a:p>
      </dgm:t>
    </dgm:pt>
    <dgm:pt modelId="{CD430E7B-D92E-4B02-A62B-2F0369039F0B}" type="pres">
      <dgm:prSet presAssocID="{EDD11825-6C43-49CB-A439-01DA82DA6568}" presName="Name0" presStyleCnt="0">
        <dgm:presLayoutVars>
          <dgm:dir/>
          <dgm:resizeHandles val="exact"/>
        </dgm:presLayoutVars>
      </dgm:prSet>
      <dgm:spPr/>
    </dgm:pt>
    <dgm:pt modelId="{06679A4D-DC4C-421E-A8D1-29FA90BA51E2}" type="pres">
      <dgm:prSet presAssocID="{A9E0E6C7-C87F-407F-933E-863EFF121126}" presName="parTxOnly" presStyleLbl="node1" presStyleIdx="0" presStyleCnt="1" custScaleX="34598" custScaleY="25866" custLinFactNeighborY="-127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478DB45-E5E3-44BF-8483-3F995A167F73}" srcId="{EDD11825-6C43-49CB-A439-01DA82DA6568}" destId="{A9E0E6C7-C87F-407F-933E-863EFF121126}" srcOrd="0" destOrd="0" parTransId="{C190394F-69FF-4BD7-80EB-2CAFBB7AA5AE}" sibTransId="{B710A0BB-46B6-456B-826D-55C91C3F96F5}"/>
    <dgm:cxn modelId="{DACAA2FD-B8D4-4B15-9543-1CD2310A6EF4}" type="presOf" srcId="{EDD11825-6C43-49CB-A439-01DA82DA6568}" destId="{CD430E7B-D92E-4B02-A62B-2F0369039F0B}" srcOrd="0" destOrd="0" presId="urn:microsoft.com/office/officeart/2005/8/layout/hChevron3"/>
    <dgm:cxn modelId="{D4E1B5AE-5C13-4176-B171-4A61ADB7651B}" type="presOf" srcId="{A9E0E6C7-C87F-407F-933E-863EFF121126}" destId="{06679A4D-DC4C-421E-A8D1-29FA90BA51E2}" srcOrd="0" destOrd="0" presId="urn:microsoft.com/office/officeart/2005/8/layout/hChevron3"/>
    <dgm:cxn modelId="{AEC0F746-89B4-416B-9815-1A7C9DA80BBB}" type="presParOf" srcId="{CD430E7B-D92E-4B02-A62B-2F0369039F0B}" destId="{06679A4D-DC4C-421E-A8D1-29FA90BA51E2}" srcOrd="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E7E1C60-E50C-4526-BECA-5D0C5C7FB5C9}" type="doc">
      <dgm:prSet loTypeId="urn:microsoft.com/office/officeart/2011/layout/CircleProcess" loCatId="officeonline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FC9649C8-DF23-456C-BCFF-012A70B0DD6D}">
      <dgm:prSet phldrT="[Text]" custT="1"/>
      <dgm:spPr>
        <a:xfrm>
          <a:off x="1381764" y="457852"/>
          <a:ext cx="1040103" cy="1040290"/>
        </a:xfrm>
        <a:solidFill>
          <a:sysClr val="window" lastClr="FFFFFF">
            <a:alpha val="90000"/>
          </a:sysClr>
        </a:solidFill>
        <a:ln w="25400" cap="flat" cmpd="sng" algn="ctr">
          <a:solidFill>
            <a:srgbClr val="0085CC"/>
          </a:solidFill>
          <a:prstDash val="solid"/>
        </a:ln>
        <a:effectLst/>
      </dgm:spPr>
      <dgm:t>
        <a:bodyPr/>
        <a:lstStyle/>
        <a:p>
          <a:r>
            <a:rPr lang="en-US" sz="1000" dirty="0" smtClean="0">
              <a:solidFill>
                <a:srgbClr val="3C3C3C">
                  <a:hueOff val="0"/>
                  <a:satOff val="0"/>
                  <a:lumOff val="0"/>
                  <a:alphaOff val="0"/>
                </a:srgbClr>
              </a:solidFill>
              <a:latin typeface="Calibri"/>
              <a:ea typeface="+mn-ea"/>
              <a:cs typeface="+mn-cs"/>
            </a:rPr>
            <a:t>Roadshows/</a:t>
          </a:r>
        </a:p>
        <a:p>
          <a:r>
            <a:rPr lang="en-US" sz="1000" dirty="0" err="1" smtClean="0">
              <a:solidFill>
                <a:srgbClr val="3C3C3C">
                  <a:hueOff val="0"/>
                  <a:satOff val="0"/>
                  <a:lumOff val="0"/>
                  <a:alphaOff val="0"/>
                </a:srgbClr>
              </a:solidFill>
              <a:latin typeface="Calibri"/>
              <a:ea typeface="+mn-ea"/>
              <a:cs typeface="+mn-cs"/>
            </a:rPr>
            <a:t>Brownbags</a:t>
          </a:r>
          <a:endParaRPr lang="en-US" sz="1000" dirty="0">
            <a:solidFill>
              <a:srgbClr val="3C3C3C">
                <a:hueOff val="0"/>
                <a:satOff val="0"/>
                <a:lumOff val="0"/>
                <a:alphaOff val="0"/>
              </a:srgbClr>
            </a:solidFill>
            <a:latin typeface="Calibri"/>
            <a:ea typeface="+mn-ea"/>
            <a:cs typeface="+mn-cs"/>
          </a:endParaRPr>
        </a:p>
      </dgm:t>
    </dgm:pt>
    <dgm:pt modelId="{A3263F91-9DDC-4F9B-9C5C-40C6945F24EB}" type="parTrans" cxnId="{868EDFC5-A078-44C9-B6FE-A90B4AF5A0B2}">
      <dgm:prSet/>
      <dgm:spPr/>
      <dgm:t>
        <a:bodyPr/>
        <a:lstStyle/>
        <a:p>
          <a:endParaRPr lang="en-US"/>
        </a:p>
      </dgm:t>
    </dgm:pt>
    <dgm:pt modelId="{4E6A0B5B-7A70-4EC4-A2D7-470795CE9CE6}" type="sibTrans" cxnId="{868EDFC5-A078-44C9-B6FE-A90B4AF5A0B2}">
      <dgm:prSet/>
      <dgm:spPr/>
      <dgm:t>
        <a:bodyPr/>
        <a:lstStyle/>
        <a:p>
          <a:endParaRPr lang="en-US"/>
        </a:p>
      </dgm:t>
    </dgm:pt>
    <dgm:pt modelId="{BB5995FC-1A90-49E9-B32E-E0C3A142D9BA}">
      <dgm:prSet phldrT="[Text]" custT="1"/>
      <dgm:spPr>
        <a:xfrm>
          <a:off x="2533281" y="457852"/>
          <a:ext cx="1040103" cy="1040290"/>
        </a:xfrm>
        <a:solidFill>
          <a:sysClr val="window" lastClr="FFFFFF">
            <a:alpha val="90000"/>
          </a:sysClr>
        </a:solidFill>
        <a:ln w="25400" cap="flat" cmpd="sng" algn="ctr">
          <a:solidFill>
            <a:srgbClr val="0085CC"/>
          </a:solidFill>
          <a:prstDash val="solid"/>
        </a:ln>
        <a:effectLst/>
      </dgm:spPr>
      <dgm:t>
        <a:bodyPr/>
        <a:lstStyle/>
        <a:p>
          <a:r>
            <a:rPr lang="en-US" sz="1000" dirty="0" smtClean="0">
              <a:solidFill>
                <a:srgbClr val="3C3C3C">
                  <a:hueOff val="0"/>
                  <a:satOff val="0"/>
                  <a:lumOff val="0"/>
                  <a:alphaOff val="0"/>
                </a:srgbClr>
              </a:solidFill>
              <a:latin typeface="Calibri"/>
              <a:ea typeface="+mn-ea"/>
              <a:cs typeface="+mn-cs"/>
            </a:rPr>
            <a:t>Enterprise wide roll out</a:t>
          </a:r>
          <a:endParaRPr lang="en-US" sz="1000" dirty="0">
            <a:solidFill>
              <a:srgbClr val="3C3C3C">
                <a:hueOff val="0"/>
                <a:satOff val="0"/>
                <a:lumOff val="0"/>
                <a:alphaOff val="0"/>
              </a:srgbClr>
            </a:solidFill>
            <a:latin typeface="Calibri"/>
            <a:ea typeface="+mn-ea"/>
            <a:cs typeface="+mn-cs"/>
          </a:endParaRPr>
        </a:p>
      </dgm:t>
    </dgm:pt>
    <dgm:pt modelId="{06113724-B8C3-4033-8467-49249CC95DD6}" type="parTrans" cxnId="{2A1FAA27-112F-4280-B9A7-13F8CAC3BB36}">
      <dgm:prSet/>
      <dgm:spPr/>
      <dgm:t>
        <a:bodyPr/>
        <a:lstStyle/>
        <a:p>
          <a:endParaRPr lang="en-US"/>
        </a:p>
      </dgm:t>
    </dgm:pt>
    <dgm:pt modelId="{F97B8D52-6BE1-4ED4-9CC7-5F0F8A60651E}" type="sibTrans" cxnId="{2A1FAA27-112F-4280-B9A7-13F8CAC3BB36}">
      <dgm:prSet/>
      <dgm:spPr/>
      <dgm:t>
        <a:bodyPr/>
        <a:lstStyle/>
        <a:p>
          <a:endParaRPr lang="en-US"/>
        </a:p>
      </dgm:t>
    </dgm:pt>
    <dgm:pt modelId="{90540649-8D3E-43EB-96FC-0CB56D7BB18D}" type="pres">
      <dgm:prSet presAssocID="{9E7E1C60-E50C-4526-BECA-5D0C5C7FB5C9}" presName="Name0" presStyleCnt="0">
        <dgm:presLayoutVars>
          <dgm:chMax val="11"/>
          <dgm:chPref val="11"/>
          <dgm:dir/>
          <dgm:resizeHandles/>
        </dgm:presLayoutVars>
      </dgm:prSet>
      <dgm:spPr/>
      <dgm:t>
        <a:bodyPr/>
        <a:lstStyle/>
        <a:p>
          <a:endParaRPr lang="en-US"/>
        </a:p>
      </dgm:t>
    </dgm:pt>
    <dgm:pt modelId="{1B7CBA46-2ECD-4EDF-9B6A-83FD60FE3605}" type="pres">
      <dgm:prSet presAssocID="{BB5995FC-1A90-49E9-B32E-E0C3A142D9BA}" presName="Accent2" presStyleCnt="0"/>
      <dgm:spPr/>
    </dgm:pt>
    <dgm:pt modelId="{B81C761B-7B65-4AB0-A38E-AC13E8F8AD20}" type="pres">
      <dgm:prSet presAssocID="{BB5995FC-1A90-49E9-B32E-E0C3A142D9BA}" presName="Accent" presStyleLbl="node1" presStyleIdx="0" presStyleCnt="2"/>
      <dgm:spPr>
        <a:xfrm>
          <a:off x="2496143" y="420692"/>
          <a:ext cx="1114626" cy="1114610"/>
        </a:xfrm>
        <a:prstGeom prst="ellipse">
          <a:avLst/>
        </a:prstGeom>
        <a:solidFill>
          <a:srgbClr val="0085CC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A16AC92C-404A-4611-AFE2-C9B1A8399F72}" type="pres">
      <dgm:prSet presAssocID="{BB5995FC-1A90-49E9-B32E-E0C3A142D9BA}" presName="ParentBackground2" presStyleCnt="0"/>
      <dgm:spPr/>
    </dgm:pt>
    <dgm:pt modelId="{3E4514FC-75CD-4C29-A749-FE54F903EA17}" type="pres">
      <dgm:prSet presAssocID="{BB5995FC-1A90-49E9-B32E-E0C3A142D9BA}" presName="ParentBackground" presStyleLbl="fgAcc1" presStyleIdx="0" presStyleCnt="2"/>
      <dgm:spPr>
        <a:prstGeom prst="ellipse">
          <a:avLst/>
        </a:prstGeom>
      </dgm:spPr>
      <dgm:t>
        <a:bodyPr/>
        <a:lstStyle/>
        <a:p>
          <a:endParaRPr lang="en-US"/>
        </a:p>
      </dgm:t>
    </dgm:pt>
    <dgm:pt modelId="{1E0F1E65-DD40-4F6D-B903-BE69A0625D43}" type="pres">
      <dgm:prSet presAssocID="{BB5995FC-1A90-49E9-B32E-E0C3A142D9BA}" presName="Parent2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73AF02-4230-40F2-B062-E5C826DC40B6}" type="pres">
      <dgm:prSet presAssocID="{FC9649C8-DF23-456C-BCFF-012A70B0DD6D}" presName="Accent1" presStyleCnt="0"/>
      <dgm:spPr/>
    </dgm:pt>
    <dgm:pt modelId="{E54A9B5F-0B5B-46B4-A4D0-BE21717B2043}" type="pres">
      <dgm:prSet presAssocID="{FC9649C8-DF23-456C-BCFF-012A70B0DD6D}" presName="Accent" presStyleLbl="node1" presStyleIdx="1" presStyleCnt="2"/>
      <dgm:spPr>
        <a:xfrm rot="2700000">
          <a:off x="1344484" y="420568"/>
          <a:ext cx="1114663" cy="1114663"/>
        </a:xfrm>
        <a:prstGeom prst="teardrop">
          <a:avLst>
            <a:gd name="adj" fmla="val 100000"/>
          </a:avLst>
        </a:prstGeom>
        <a:solidFill>
          <a:srgbClr val="0085CC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004021D2-96FA-4194-9FB0-C178001378D2}" type="pres">
      <dgm:prSet presAssocID="{FC9649C8-DF23-456C-BCFF-012A70B0DD6D}" presName="ParentBackground1" presStyleCnt="0"/>
      <dgm:spPr/>
    </dgm:pt>
    <dgm:pt modelId="{2E47EC43-6039-440B-B4BD-B05B69207B02}" type="pres">
      <dgm:prSet presAssocID="{FC9649C8-DF23-456C-BCFF-012A70B0DD6D}" presName="ParentBackground" presStyleLbl="fgAcc1" presStyleIdx="1" presStyleCnt="2"/>
      <dgm:spPr>
        <a:prstGeom prst="ellipse">
          <a:avLst/>
        </a:prstGeom>
      </dgm:spPr>
      <dgm:t>
        <a:bodyPr/>
        <a:lstStyle/>
        <a:p>
          <a:endParaRPr lang="en-US"/>
        </a:p>
      </dgm:t>
    </dgm:pt>
    <dgm:pt modelId="{20809DC7-1926-4614-ADCF-2BE9608E2BCE}" type="pres">
      <dgm:prSet presAssocID="{FC9649C8-DF23-456C-BCFF-012A70B0DD6D}" presName="Parent1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A1FAA27-112F-4280-B9A7-13F8CAC3BB36}" srcId="{9E7E1C60-E50C-4526-BECA-5D0C5C7FB5C9}" destId="{BB5995FC-1A90-49E9-B32E-E0C3A142D9BA}" srcOrd="1" destOrd="0" parTransId="{06113724-B8C3-4033-8467-49249CC95DD6}" sibTransId="{F97B8D52-6BE1-4ED4-9CC7-5F0F8A60651E}"/>
    <dgm:cxn modelId="{B3BEF301-F2AB-41F5-B378-80D29AFC17E1}" type="presOf" srcId="{BB5995FC-1A90-49E9-B32E-E0C3A142D9BA}" destId="{3E4514FC-75CD-4C29-A749-FE54F903EA17}" srcOrd="0" destOrd="0" presId="urn:microsoft.com/office/officeart/2011/layout/CircleProcess"/>
    <dgm:cxn modelId="{F55AFB83-8293-4F51-ABFA-6AA13C59C92A}" type="presOf" srcId="{BB5995FC-1A90-49E9-B32E-E0C3A142D9BA}" destId="{1E0F1E65-DD40-4F6D-B903-BE69A0625D43}" srcOrd="1" destOrd="0" presId="urn:microsoft.com/office/officeart/2011/layout/CircleProcess"/>
    <dgm:cxn modelId="{D84140BF-C21D-4CF6-A899-1F55B9D1540F}" type="presOf" srcId="{9E7E1C60-E50C-4526-BECA-5D0C5C7FB5C9}" destId="{90540649-8D3E-43EB-96FC-0CB56D7BB18D}" srcOrd="0" destOrd="0" presId="urn:microsoft.com/office/officeart/2011/layout/CircleProcess"/>
    <dgm:cxn modelId="{868EDFC5-A078-44C9-B6FE-A90B4AF5A0B2}" srcId="{9E7E1C60-E50C-4526-BECA-5D0C5C7FB5C9}" destId="{FC9649C8-DF23-456C-BCFF-012A70B0DD6D}" srcOrd="0" destOrd="0" parTransId="{A3263F91-9DDC-4F9B-9C5C-40C6945F24EB}" sibTransId="{4E6A0B5B-7A70-4EC4-A2D7-470795CE9CE6}"/>
    <dgm:cxn modelId="{2119F550-1AB9-4946-9845-A1292D213F40}" type="presOf" srcId="{FC9649C8-DF23-456C-BCFF-012A70B0DD6D}" destId="{20809DC7-1926-4614-ADCF-2BE9608E2BCE}" srcOrd="1" destOrd="0" presId="urn:microsoft.com/office/officeart/2011/layout/CircleProcess"/>
    <dgm:cxn modelId="{5ED1FBE9-DA14-4C0C-B913-EA4E8BCE0214}" type="presOf" srcId="{FC9649C8-DF23-456C-BCFF-012A70B0DD6D}" destId="{2E47EC43-6039-440B-B4BD-B05B69207B02}" srcOrd="0" destOrd="0" presId="urn:microsoft.com/office/officeart/2011/layout/CircleProcess"/>
    <dgm:cxn modelId="{AAD14B31-2A1A-4AF6-8FEA-76C7C8D6FA13}" type="presParOf" srcId="{90540649-8D3E-43EB-96FC-0CB56D7BB18D}" destId="{1B7CBA46-2ECD-4EDF-9B6A-83FD60FE3605}" srcOrd="0" destOrd="0" presId="urn:microsoft.com/office/officeart/2011/layout/CircleProcess"/>
    <dgm:cxn modelId="{4B1B191E-5DCF-4B43-A5A7-63EC2909693C}" type="presParOf" srcId="{1B7CBA46-2ECD-4EDF-9B6A-83FD60FE3605}" destId="{B81C761B-7B65-4AB0-A38E-AC13E8F8AD20}" srcOrd="0" destOrd="0" presId="urn:microsoft.com/office/officeart/2011/layout/CircleProcess"/>
    <dgm:cxn modelId="{C0852E50-1302-44DE-BE92-7B8207287DC6}" type="presParOf" srcId="{90540649-8D3E-43EB-96FC-0CB56D7BB18D}" destId="{A16AC92C-404A-4611-AFE2-C9B1A8399F72}" srcOrd="1" destOrd="0" presId="urn:microsoft.com/office/officeart/2011/layout/CircleProcess"/>
    <dgm:cxn modelId="{85E8C2FA-D20A-4E78-80B2-CA5C8EAD322E}" type="presParOf" srcId="{A16AC92C-404A-4611-AFE2-C9B1A8399F72}" destId="{3E4514FC-75CD-4C29-A749-FE54F903EA17}" srcOrd="0" destOrd="0" presId="urn:microsoft.com/office/officeart/2011/layout/CircleProcess"/>
    <dgm:cxn modelId="{FAA31480-3E34-442C-9FFD-D0FD65B4A675}" type="presParOf" srcId="{90540649-8D3E-43EB-96FC-0CB56D7BB18D}" destId="{1E0F1E65-DD40-4F6D-B903-BE69A0625D43}" srcOrd="2" destOrd="0" presId="urn:microsoft.com/office/officeart/2011/layout/CircleProcess"/>
    <dgm:cxn modelId="{53C94BBA-5430-45A8-9BCA-D69414BD9E47}" type="presParOf" srcId="{90540649-8D3E-43EB-96FC-0CB56D7BB18D}" destId="{B373AF02-4230-40F2-B062-E5C826DC40B6}" srcOrd="3" destOrd="0" presId="urn:microsoft.com/office/officeart/2011/layout/CircleProcess"/>
    <dgm:cxn modelId="{8E8F613D-E03B-4FB4-82D6-8247DB4A8EF5}" type="presParOf" srcId="{B373AF02-4230-40F2-B062-E5C826DC40B6}" destId="{E54A9B5F-0B5B-46B4-A4D0-BE21717B2043}" srcOrd="0" destOrd="0" presId="urn:microsoft.com/office/officeart/2011/layout/CircleProcess"/>
    <dgm:cxn modelId="{B242122F-CBB5-448D-956F-51AA9D24C343}" type="presParOf" srcId="{90540649-8D3E-43EB-96FC-0CB56D7BB18D}" destId="{004021D2-96FA-4194-9FB0-C178001378D2}" srcOrd="4" destOrd="0" presId="urn:microsoft.com/office/officeart/2011/layout/CircleProcess"/>
    <dgm:cxn modelId="{DB0F1233-DD93-4A1F-88F7-C82C78AED383}" type="presParOf" srcId="{004021D2-96FA-4194-9FB0-C178001378D2}" destId="{2E47EC43-6039-440B-B4BD-B05B69207B02}" srcOrd="0" destOrd="0" presId="urn:microsoft.com/office/officeart/2011/layout/CircleProcess"/>
    <dgm:cxn modelId="{457E0395-CE7F-4B0C-A4EE-B8AE869E1576}" type="presParOf" srcId="{90540649-8D3E-43EB-96FC-0CB56D7BB18D}" destId="{20809DC7-1926-4614-ADCF-2BE9608E2BCE}" srcOrd="5" destOrd="0" presId="urn:microsoft.com/office/officeart/2011/layout/CircleProcess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E7E1C60-E50C-4526-BECA-5D0C5C7FB5C9}" type="doc">
      <dgm:prSet loTypeId="urn:microsoft.com/office/officeart/2011/layout/CircleProcess" loCatId="officeonline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FC9649C8-DF23-456C-BCFF-012A70B0DD6D}">
      <dgm:prSet phldrT="[Text]" custT="1"/>
      <dgm:spPr>
        <a:xfrm>
          <a:off x="1381764" y="457852"/>
          <a:ext cx="1040103" cy="1040290"/>
        </a:xfrm>
        <a:solidFill>
          <a:sysClr val="window" lastClr="FFFFFF">
            <a:alpha val="90000"/>
          </a:sysClr>
        </a:solidFill>
        <a:ln w="25400" cap="flat" cmpd="sng" algn="ctr">
          <a:solidFill>
            <a:srgbClr val="0085CC"/>
          </a:solidFill>
          <a:prstDash val="solid"/>
        </a:ln>
        <a:effectLst/>
      </dgm:spPr>
      <dgm:t>
        <a:bodyPr/>
        <a:lstStyle/>
        <a:p>
          <a:r>
            <a:rPr lang="en-US" sz="1050" dirty="0" smtClean="0">
              <a:solidFill>
                <a:srgbClr val="3C3C3C">
                  <a:hueOff val="0"/>
                  <a:satOff val="0"/>
                  <a:lumOff val="0"/>
                  <a:alphaOff val="0"/>
                </a:srgbClr>
              </a:solidFill>
              <a:latin typeface="Calibri"/>
              <a:ea typeface="+mn-ea"/>
              <a:cs typeface="+mn-cs"/>
            </a:rPr>
            <a:t>Assess and finalize</a:t>
          </a:r>
          <a:endParaRPr lang="en-US" sz="1050" dirty="0">
            <a:solidFill>
              <a:srgbClr val="3C3C3C">
                <a:hueOff val="0"/>
                <a:satOff val="0"/>
                <a:lumOff val="0"/>
                <a:alphaOff val="0"/>
              </a:srgbClr>
            </a:solidFill>
            <a:latin typeface="Calibri"/>
            <a:ea typeface="+mn-ea"/>
            <a:cs typeface="+mn-cs"/>
          </a:endParaRPr>
        </a:p>
      </dgm:t>
    </dgm:pt>
    <dgm:pt modelId="{A3263F91-9DDC-4F9B-9C5C-40C6945F24EB}" type="parTrans" cxnId="{868EDFC5-A078-44C9-B6FE-A90B4AF5A0B2}">
      <dgm:prSet/>
      <dgm:spPr/>
      <dgm:t>
        <a:bodyPr/>
        <a:lstStyle/>
        <a:p>
          <a:endParaRPr lang="en-US"/>
        </a:p>
      </dgm:t>
    </dgm:pt>
    <dgm:pt modelId="{4E6A0B5B-7A70-4EC4-A2D7-470795CE9CE6}" type="sibTrans" cxnId="{868EDFC5-A078-44C9-B6FE-A90B4AF5A0B2}">
      <dgm:prSet/>
      <dgm:spPr/>
      <dgm:t>
        <a:bodyPr/>
        <a:lstStyle/>
        <a:p>
          <a:endParaRPr lang="en-US"/>
        </a:p>
      </dgm:t>
    </dgm:pt>
    <dgm:pt modelId="{BB5995FC-1A90-49E9-B32E-E0C3A142D9BA}">
      <dgm:prSet phldrT="[Text]" custT="1"/>
      <dgm:spPr>
        <a:xfrm>
          <a:off x="2533281" y="457852"/>
          <a:ext cx="1040103" cy="1040290"/>
        </a:xfrm>
        <a:solidFill>
          <a:srgbClr val="FFFFFF">
            <a:alpha val="90000"/>
          </a:srgbClr>
        </a:solidFill>
        <a:ln w="25400" cap="flat" cmpd="sng" algn="ctr">
          <a:solidFill>
            <a:srgbClr val="0085CC"/>
          </a:solidFill>
          <a:prstDash val="solid"/>
        </a:ln>
        <a:effectLst/>
      </dgm:spPr>
      <dgm:t>
        <a:bodyPr/>
        <a:lstStyle/>
        <a:p>
          <a:r>
            <a:rPr lang="en-US" sz="1050" dirty="0" smtClean="0">
              <a:solidFill>
                <a:srgbClr val="3C3C3C">
                  <a:hueOff val="0"/>
                  <a:satOff val="0"/>
                  <a:lumOff val="0"/>
                  <a:alphaOff val="0"/>
                </a:srgbClr>
              </a:solidFill>
              <a:latin typeface="Calibri"/>
              <a:ea typeface="+mn-ea"/>
              <a:cs typeface="+mn-cs"/>
            </a:rPr>
            <a:t>Establish Core Team</a:t>
          </a:r>
          <a:endParaRPr lang="en-US" sz="1050" dirty="0">
            <a:solidFill>
              <a:srgbClr val="3C3C3C">
                <a:hueOff val="0"/>
                <a:satOff val="0"/>
                <a:lumOff val="0"/>
                <a:alphaOff val="0"/>
              </a:srgbClr>
            </a:solidFill>
            <a:latin typeface="Calibri"/>
            <a:ea typeface="+mn-ea"/>
            <a:cs typeface="+mn-cs"/>
          </a:endParaRPr>
        </a:p>
      </dgm:t>
    </dgm:pt>
    <dgm:pt modelId="{06113724-B8C3-4033-8467-49249CC95DD6}" type="parTrans" cxnId="{2A1FAA27-112F-4280-B9A7-13F8CAC3BB36}">
      <dgm:prSet/>
      <dgm:spPr/>
      <dgm:t>
        <a:bodyPr/>
        <a:lstStyle/>
        <a:p>
          <a:endParaRPr lang="en-US"/>
        </a:p>
      </dgm:t>
    </dgm:pt>
    <dgm:pt modelId="{F97B8D52-6BE1-4ED4-9CC7-5F0F8A60651E}" type="sibTrans" cxnId="{2A1FAA27-112F-4280-B9A7-13F8CAC3BB36}">
      <dgm:prSet/>
      <dgm:spPr/>
      <dgm:t>
        <a:bodyPr/>
        <a:lstStyle/>
        <a:p>
          <a:endParaRPr lang="en-US"/>
        </a:p>
      </dgm:t>
    </dgm:pt>
    <dgm:pt modelId="{90540649-8D3E-43EB-96FC-0CB56D7BB18D}" type="pres">
      <dgm:prSet presAssocID="{9E7E1C60-E50C-4526-BECA-5D0C5C7FB5C9}" presName="Name0" presStyleCnt="0">
        <dgm:presLayoutVars>
          <dgm:chMax val="11"/>
          <dgm:chPref val="11"/>
          <dgm:dir/>
          <dgm:resizeHandles/>
        </dgm:presLayoutVars>
      </dgm:prSet>
      <dgm:spPr/>
      <dgm:t>
        <a:bodyPr/>
        <a:lstStyle/>
        <a:p>
          <a:endParaRPr lang="en-US"/>
        </a:p>
      </dgm:t>
    </dgm:pt>
    <dgm:pt modelId="{1B7CBA46-2ECD-4EDF-9B6A-83FD60FE3605}" type="pres">
      <dgm:prSet presAssocID="{BB5995FC-1A90-49E9-B32E-E0C3A142D9BA}" presName="Accent2" presStyleCnt="0"/>
      <dgm:spPr/>
    </dgm:pt>
    <dgm:pt modelId="{B81C761B-7B65-4AB0-A38E-AC13E8F8AD20}" type="pres">
      <dgm:prSet presAssocID="{BB5995FC-1A90-49E9-B32E-E0C3A142D9BA}" presName="Accent" presStyleLbl="node1" presStyleIdx="0" presStyleCnt="2"/>
      <dgm:spPr>
        <a:xfrm>
          <a:off x="2496143" y="420692"/>
          <a:ext cx="1114626" cy="1114610"/>
        </a:xfrm>
        <a:prstGeom prst="ellipse">
          <a:avLst/>
        </a:prstGeom>
        <a:solidFill>
          <a:srgbClr val="0085CC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A16AC92C-404A-4611-AFE2-C9B1A8399F72}" type="pres">
      <dgm:prSet presAssocID="{BB5995FC-1A90-49E9-B32E-E0C3A142D9BA}" presName="ParentBackground2" presStyleCnt="0"/>
      <dgm:spPr/>
    </dgm:pt>
    <dgm:pt modelId="{3E4514FC-75CD-4C29-A749-FE54F903EA17}" type="pres">
      <dgm:prSet presAssocID="{BB5995FC-1A90-49E9-B32E-E0C3A142D9BA}" presName="ParentBackground" presStyleLbl="fgAcc1" presStyleIdx="0" presStyleCnt="2"/>
      <dgm:spPr>
        <a:prstGeom prst="ellipse">
          <a:avLst/>
        </a:prstGeom>
      </dgm:spPr>
      <dgm:t>
        <a:bodyPr/>
        <a:lstStyle/>
        <a:p>
          <a:endParaRPr lang="en-US"/>
        </a:p>
      </dgm:t>
    </dgm:pt>
    <dgm:pt modelId="{1E0F1E65-DD40-4F6D-B903-BE69A0625D43}" type="pres">
      <dgm:prSet presAssocID="{BB5995FC-1A90-49E9-B32E-E0C3A142D9BA}" presName="Parent2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73AF02-4230-40F2-B062-E5C826DC40B6}" type="pres">
      <dgm:prSet presAssocID="{FC9649C8-DF23-456C-BCFF-012A70B0DD6D}" presName="Accent1" presStyleCnt="0"/>
      <dgm:spPr/>
    </dgm:pt>
    <dgm:pt modelId="{E54A9B5F-0B5B-46B4-A4D0-BE21717B2043}" type="pres">
      <dgm:prSet presAssocID="{FC9649C8-DF23-456C-BCFF-012A70B0DD6D}" presName="Accent" presStyleLbl="node1" presStyleIdx="1" presStyleCnt="2"/>
      <dgm:spPr>
        <a:xfrm rot="2700000">
          <a:off x="1344484" y="420568"/>
          <a:ext cx="1114663" cy="1114663"/>
        </a:xfrm>
        <a:prstGeom prst="teardrop">
          <a:avLst>
            <a:gd name="adj" fmla="val 100000"/>
          </a:avLst>
        </a:prstGeom>
        <a:solidFill>
          <a:srgbClr val="0085CC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004021D2-96FA-4194-9FB0-C178001378D2}" type="pres">
      <dgm:prSet presAssocID="{FC9649C8-DF23-456C-BCFF-012A70B0DD6D}" presName="ParentBackground1" presStyleCnt="0"/>
      <dgm:spPr/>
    </dgm:pt>
    <dgm:pt modelId="{2E47EC43-6039-440B-B4BD-B05B69207B02}" type="pres">
      <dgm:prSet presAssocID="{FC9649C8-DF23-456C-BCFF-012A70B0DD6D}" presName="ParentBackground" presStyleLbl="fgAcc1" presStyleIdx="1" presStyleCnt="2"/>
      <dgm:spPr>
        <a:prstGeom prst="ellipse">
          <a:avLst/>
        </a:prstGeom>
      </dgm:spPr>
      <dgm:t>
        <a:bodyPr/>
        <a:lstStyle/>
        <a:p>
          <a:endParaRPr lang="en-US"/>
        </a:p>
      </dgm:t>
    </dgm:pt>
    <dgm:pt modelId="{20809DC7-1926-4614-ADCF-2BE9608E2BCE}" type="pres">
      <dgm:prSet presAssocID="{FC9649C8-DF23-456C-BCFF-012A70B0DD6D}" presName="Parent1" presStyleLbl="revTx" presStyleIdx="0" presStyleCnt="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71B8BE0-937B-46F0-AD3B-10DE31C260A3}" type="presOf" srcId="{9E7E1C60-E50C-4526-BECA-5D0C5C7FB5C9}" destId="{90540649-8D3E-43EB-96FC-0CB56D7BB18D}" srcOrd="0" destOrd="0" presId="urn:microsoft.com/office/officeart/2011/layout/CircleProcess"/>
    <dgm:cxn modelId="{88306CA7-FB5B-4F2E-85DD-2718C9C17E68}" type="presOf" srcId="{FC9649C8-DF23-456C-BCFF-012A70B0DD6D}" destId="{20809DC7-1926-4614-ADCF-2BE9608E2BCE}" srcOrd="1" destOrd="0" presId="urn:microsoft.com/office/officeart/2011/layout/CircleProcess"/>
    <dgm:cxn modelId="{AEE091BB-6392-4B36-98D6-52D61AF174BD}" type="presOf" srcId="{FC9649C8-DF23-456C-BCFF-012A70B0DD6D}" destId="{2E47EC43-6039-440B-B4BD-B05B69207B02}" srcOrd="0" destOrd="0" presId="urn:microsoft.com/office/officeart/2011/layout/CircleProcess"/>
    <dgm:cxn modelId="{2A1FAA27-112F-4280-B9A7-13F8CAC3BB36}" srcId="{9E7E1C60-E50C-4526-BECA-5D0C5C7FB5C9}" destId="{BB5995FC-1A90-49E9-B32E-E0C3A142D9BA}" srcOrd="1" destOrd="0" parTransId="{06113724-B8C3-4033-8467-49249CC95DD6}" sibTransId="{F97B8D52-6BE1-4ED4-9CC7-5F0F8A60651E}"/>
    <dgm:cxn modelId="{A2A432E4-E1EC-4B98-9803-76E3264056E3}" type="presOf" srcId="{BB5995FC-1A90-49E9-B32E-E0C3A142D9BA}" destId="{3E4514FC-75CD-4C29-A749-FE54F903EA17}" srcOrd="0" destOrd="0" presId="urn:microsoft.com/office/officeart/2011/layout/CircleProcess"/>
    <dgm:cxn modelId="{868EDFC5-A078-44C9-B6FE-A90B4AF5A0B2}" srcId="{9E7E1C60-E50C-4526-BECA-5D0C5C7FB5C9}" destId="{FC9649C8-DF23-456C-BCFF-012A70B0DD6D}" srcOrd="0" destOrd="0" parTransId="{A3263F91-9DDC-4F9B-9C5C-40C6945F24EB}" sibTransId="{4E6A0B5B-7A70-4EC4-A2D7-470795CE9CE6}"/>
    <dgm:cxn modelId="{2D70A193-7695-4105-9622-DB96331C5B22}" type="presOf" srcId="{BB5995FC-1A90-49E9-B32E-E0C3A142D9BA}" destId="{1E0F1E65-DD40-4F6D-B903-BE69A0625D43}" srcOrd="1" destOrd="0" presId="urn:microsoft.com/office/officeart/2011/layout/CircleProcess"/>
    <dgm:cxn modelId="{CE2C5F1B-A124-4D02-967F-50BC19843251}" type="presParOf" srcId="{90540649-8D3E-43EB-96FC-0CB56D7BB18D}" destId="{1B7CBA46-2ECD-4EDF-9B6A-83FD60FE3605}" srcOrd="0" destOrd="0" presId="urn:microsoft.com/office/officeart/2011/layout/CircleProcess"/>
    <dgm:cxn modelId="{5D256101-45E8-4331-B235-8C2356EED8F0}" type="presParOf" srcId="{1B7CBA46-2ECD-4EDF-9B6A-83FD60FE3605}" destId="{B81C761B-7B65-4AB0-A38E-AC13E8F8AD20}" srcOrd="0" destOrd="0" presId="urn:microsoft.com/office/officeart/2011/layout/CircleProcess"/>
    <dgm:cxn modelId="{BA8D8608-2369-4F7B-A4AB-F9D7ED491DAF}" type="presParOf" srcId="{90540649-8D3E-43EB-96FC-0CB56D7BB18D}" destId="{A16AC92C-404A-4611-AFE2-C9B1A8399F72}" srcOrd="1" destOrd="0" presId="urn:microsoft.com/office/officeart/2011/layout/CircleProcess"/>
    <dgm:cxn modelId="{C56D3D9E-63A5-4271-A7B2-15E3AEF3836F}" type="presParOf" srcId="{A16AC92C-404A-4611-AFE2-C9B1A8399F72}" destId="{3E4514FC-75CD-4C29-A749-FE54F903EA17}" srcOrd="0" destOrd="0" presId="urn:microsoft.com/office/officeart/2011/layout/CircleProcess"/>
    <dgm:cxn modelId="{11439606-485B-4E52-8F2F-15688D711C7C}" type="presParOf" srcId="{90540649-8D3E-43EB-96FC-0CB56D7BB18D}" destId="{1E0F1E65-DD40-4F6D-B903-BE69A0625D43}" srcOrd="2" destOrd="0" presId="urn:microsoft.com/office/officeart/2011/layout/CircleProcess"/>
    <dgm:cxn modelId="{EE93605B-FCF4-4E24-AA87-E74122D73D67}" type="presParOf" srcId="{90540649-8D3E-43EB-96FC-0CB56D7BB18D}" destId="{B373AF02-4230-40F2-B062-E5C826DC40B6}" srcOrd="3" destOrd="0" presId="urn:microsoft.com/office/officeart/2011/layout/CircleProcess"/>
    <dgm:cxn modelId="{623DC7AF-CCA4-404E-95B2-8572543A8C9C}" type="presParOf" srcId="{B373AF02-4230-40F2-B062-E5C826DC40B6}" destId="{E54A9B5F-0B5B-46B4-A4D0-BE21717B2043}" srcOrd="0" destOrd="0" presId="urn:microsoft.com/office/officeart/2011/layout/CircleProcess"/>
    <dgm:cxn modelId="{84D6F090-069E-4259-A9AF-BE5982648389}" type="presParOf" srcId="{90540649-8D3E-43EB-96FC-0CB56D7BB18D}" destId="{004021D2-96FA-4194-9FB0-C178001378D2}" srcOrd="4" destOrd="0" presId="urn:microsoft.com/office/officeart/2011/layout/CircleProcess"/>
    <dgm:cxn modelId="{BC4FB0A6-9FF8-40CF-B2E9-E5C37B615EA5}" type="presParOf" srcId="{004021D2-96FA-4194-9FB0-C178001378D2}" destId="{2E47EC43-6039-440B-B4BD-B05B69207B02}" srcOrd="0" destOrd="0" presId="urn:microsoft.com/office/officeart/2011/layout/CircleProcess"/>
    <dgm:cxn modelId="{4774A65D-0EAB-4457-996F-996F57F15FCF}" type="presParOf" srcId="{90540649-8D3E-43EB-96FC-0CB56D7BB18D}" destId="{20809DC7-1926-4614-ADCF-2BE9608E2BCE}" srcOrd="5" destOrd="0" presId="urn:microsoft.com/office/officeart/2011/layout/CircleProcess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27D8AE9-3ECB-4CAC-B7A0-39CE490F1294}" type="doc">
      <dgm:prSet loTypeId="urn:microsoft.com/office/officeart/2005/8/layout/gear1" loCatId="process" qsTypeId="urn:microsoft.com/office/officeart/2005/8/quickstyle/simple1" qsCatId="simple" csTypeId="urn:microsoft.com/office/officeart/2005/8/colors/accent3_1" csCatId="accent3" phldr="1"/>
      <dgm:spPr/>
    </dgm:pt>
    <dgm:pt modelId="{6AF921E0-F585-4B4E-8CAA-D9C883119186}">
      <dgm:prSet phldrT="[Text]" custT="1"/>
      <dgm:spPr>
        <a:xfrm>
          <a:off x="2340478" y="1367062"/>
          <a:ext cx="1384785" cy="1299939"/>
        </a:xfrm>
        <a:solidFill>
          <a:srgbClr val="FFFFFF"/>
        </a:solidFill>
        <a:ln w="25400" cap="flat" cmpd="sng" algn="ctr">
          <a:solidFill>
            <a:srgbClr val="0085CC"/>
          </a:solidFill>
          <a:prstDash val="solid"/>
        </a:ln>
        <a:effectLst/>
      </dgm:spPr>
      <dgm:t>
        <a:bodyPr/>
        <a:lstStyle/>
        <a:p>
          <a:r>
            <a:rPr lang="en-US" sz="1600" b="1" dirty="0" smtClean="0">
              <a:solidFill>
                <a:srgbClr val="3C3C3C">
                  <a:hueOff val="0"/>
                  <a:satOff val="0"/>
                  <a:lumOff val="0"/>
                  <a:alphaOff val="0"/>
                </a:srgbClr>
              </a:solidFill>
              <a:latin typeface="Calibri"/>
              <a:ea typeface="+mn-ea"/>
              <a:cs typeface="+mn-cs"/>
            </a:rPr>
            <a:t>PILOT</a:t>
          </a:r>
          <a:endParaRPr lang="en-US" sz="1600" b="1" dirty="0">
            <a:solidFill>
              <a:srgbClr val="3C3C3C">
                <a:hueOff val="0"/>
                <a:satOff val="0"/>
                <a:lumOff val="0"/>
                <a:alphaOff val="0"/>
              </a:srgbClr>
            </a:solidFill>
            <a:latin typeface="Calibri"/>
            <a:ea typeface="+mn-ea"/>
            <a:cs typeface="+mn-cs"/>
          </a:endParaRPr>
        </a:p>
      </dgm:t>
    </dgm:pt>
    <dgm:pt modelId="{B1228504-B799-4E4C-A5B0-C8A1F96D3019}" type="parTrans" cxnId="{02256A3F-2789-4853-9AD6-6F2C258A35FE}">
      <dgm:prSet/>
      <dgm:spPr/>
      <dgm:t>
        <a:bodyPr/>
        <a:lstStyle/>
        <a:p>
          <a:endParaRPr lang="en-US" b="1"/>
        </a:p>
      </dgm:t>
    </dgm:pt>
    <dgm:pt modelId="{C87BC353-0FC0-4C4A-BF55-F5966EC61F61}" type="sibTrans" cxnId="{02256A3F-2789-4853-9AD6-6F2C258A35FE}">
      <dgm:prSet/>
      <dgm:spPr>
        <a:xfrm>
          <a:off x="2005111" y="1075688"/>
          <a:ext cx="1949094" cy="1949094"/>
        </a:xfrm>
        <a:solidFill>
          <a:srgbClr val="1F3B92"/>
        </a:solidFill>
        <a:ln>
          <a:noFill/>
        </a:ln>
        <a:effectLst/>
      </dgm:spPr>
      <dgm:t>
        <a:bodyPr/>
        <a:lstStyle/>
        <a:p>
          <a:endParaRPr lang="en-US" b="1"/>
        </a:p>
      </dgm:t>
    </dgm:pt>
    <dgm:pt modelId="{E47FA08C-9D31-43E7-913B-E190042D9C61}">
      <dgm:prSet phldrT="[Text]" custT="1"/>
      <dgm:spPr>
        <a:xfrm>
          <a:off x="1254758" y="949957"/>
          <a:ext cx="1107440" cy="1107440"/>
        </a:xfrm>
        <a:solidFill>
          <a:srgbClr val="FFFFFF"/>
        </a:solidFill>
        <a:ln w="25400" cap="flat" cmpd="sng" algn="ctr">
          <a:solidFill>
            <a:srgbClr val="0085CC"/>
          </a:solidFill>
          <a:prstDash val="solid"/>
        </a:ln>
        <a:effectLst/>
      </dgm:spPr>
      <dgm:t>
        <a:bodyPr/>
        <a:lstStyle/>
        <a:p>
          <a:r>
            <a:rPr lang="en-US" sz="1200" b="1" dirty="0" err="1" smtClean="0">
              <a:solidFill>
                <a:srgbClr val="3C3C3C">
                  <a:hueOff val="0"/>
                  <a:satOff val="0"/>
                  <a:lumOff val="0"/>
                  <a:alphaOff val="0"/>
                </a:srgbClr>
              </a:solidFill>
              <a:latin typeface="Calibri"/>
              <a:ea typeface="+mn-ea"/>
              <a:cs typeface="+mn-cs"/>
            </a:rPr>
            <a:t>PoC</a:t>
          </a:r>
          <a:r>
            <a:rPr lang="en-US" sz="1200" b="1" dirty="0" smtClean="0">
              <a:solidFill>
                <a:srgbClr val="3C3C3C">
                  <a:hueOff val="0"/>
                  <a:satOff val="0"/>
                  <a:lumOff val="0"/>
                  <a:alphaOff val="0"/>
                </a:srgbClr>
              </a:solidFill>
              <a:latin typeface="Calibri"/>
              <a:ea typeface="+mn-ea"/>
              <a:cs typeface="+mn-cs"/>
            </a:rPr>
            <a:t> – Quick Wins  </a:t>
          </a:r>
          <a:endParaRPr lang="en-US" sz="1200" b="1" dirty="0">
            <a:solidFill>
              <a:srgbClr val="3C3C3C">
                <a:hueOff val="0"/>
                <a:satOff val="0"/>
                <a:lumOff val="0"/>
                <a:alphaOff val="0"/>
              </a:srgbClr>
            </a:solidFill>
            <a:latin typeface="Calibri"/>
            <a:ea typeface="+mn-ea"/>
            <a:cs typeface="+mn-cs"/>
          </a:endParaRPr>
        </a:p>
      </dgm:t>
    </dgm:pt>
    <dgm:pt modelId="{7F9D3F2C-3462-48AE-9E95-D3E66260A687}" type="parTrans" cxnId="{54CA5233-5C70-491E-B13C-C8ECB5F406ED}">
      <dgm:prSet/>
      <dgm:spPr/>
      <dgm:t>
        <a:bodyPr/>
        <a:lstStyle/>
        <a:p>
          <a:endParaRPr lang="en-US" b="1"/>
        </a:p>
      </dgm:t>
    </dgm:pt>
    <dgm:pt modelId="{AF16500A-994F-46BA-A675-715FE628F3E6}" type="sibTrans" cxnId="{54CA5233-5C70-491E-B13C-C8ECB5F406ED}">
      <dgm:prSet/>
      <dgm:spPr>
        <a:xfrm>
          <a:off x="1055078" y="698250"/>
          <a:ext cx="1416138" cy="1416138"/>
        </a:xfrm>
        <a:solidFill>
          <a:srgbClr val="1F3B92"/>
        </a:solidFill>
        <a:ln>
          <a:noFill/>
        </a:ln>
        <a:effectLst/>
      </dgm:spPr>
      <dgm:t>
        <a:bodyPr/>
        <a:lstStyle/>
        <a:p>
          <a:endParaRPr lang="en-US" b="1"/>
        </a:p>
      </dgm:t>
    </dgm:pt>
    <dgm:pt modelId="{CEA576FC-0876-473D-A7A6-1F5A4BEE9225}">
      <dgm:prSet phldrT="[Text]" custT="1"/>
      <dgm:spPr>
        <a:xfrm rot="20700000">
          <a:off x="1900061" y="186334"/>
          <a:ext cx="1183499" cy="1058689"/>
        </a:xfrm>
        <a:solidFill>
          <a:srgbClr val="FFFFFF"/>
        </a:solidFill>
        <a:ln w="25400" cap="flat" cmpd="sng" algn="ctr">
          <a:solidFill>
            <a:srgbClr val="0085CC"/>
          </a:solidFill>
          <a:prstDash val="solid"/>
        </a:ln>
        <a:effectLst/>
      </dgm:spPr>
      <dgm:t>
        <a:bodyPr/>
        <a:lstStyle/>
        <a:p>
          <a:r>
            <a:rPr lang="en-US" sz="1050" b="1" dirty="0" smtClean="0">
              <a:solidFill>
                <a:srgbClr val="3C3C3C">
                  <a:hueOff val="0"/>
                  <a:satOff val="0"/>
                  <a:lumOff val="0"/>
                  <a:alphaOff val="0"/>
                </a:srgbClr>
              </a:solidFill>
              <a:latin typeface="Calibri"/>
              <a:ea typeface="+mn-ea"/>
              <a:cs typeface="+mn-cs"/>
            </a:rPr>
            <a:t> </a:t>
          </a:r>
          <a:endParaRPr lang="en-US" sz="1050" b="1" dirty="0">
            <a:solidFill>
              <a:srgbClr val="3C3C3C">
                <a:hueOff val="0"/>
                <a:satOff val="0"/>
                <a:lumOff val="0"/>
                <a:alphaOff val="0"/>
              </a:srgbClr>
            </a:solidFill>
            <a:latin typeface="Calibri"/>
            <a:ea typeface="+mn-ea"/>
            <a:cs typeface="+mn-cs"/>
          </a:endParaRPr>
        </a:p>
      </dgm:t>
    </dgm:pt>
    <dgm:pt modelId="{1953F840-9CB7-43E4-ACE4-D34714A8D439}" type="sibTrans" cxnId="{57EBCE54-5AFA-4843-B764-C37BF09D3694}">
      <dgm:prSet/>
      <dgm:spPr>
        <a:xfrm>
          <a:off x="1620496" y="-58405"/>
          <a:ext cx="1526882" cy="1526882"/>
        </a:xfrm>
        <a:solidFill>
          <a:srgbClr val="1F3B92"/>
        </a:solidFill>
        <a:ln>
          <a:noFill/>
        </a:ln>
        <a:effectLst/>
      </dgm:spPr>
      <dgm:t>
        <a:bodyPr/>
        <a:lstStyle/>
        <a:p>
          <a:endParaRPr lang="en-US" b="1"/>
        </a:p>
      </dgm:t>
    </dgm:pt>
    <dgm:pt modelId="{2D2CA18D-00ED-4B70-9E2F-30DFD01BB59F}" type="parTrans" cxnId="{57EBCE54-5AFA-4843-B764-C37BF09D3694}">
      <dgm:prSet/>
      <dgm:spPr/>
      <dgm:t>
        <a:bodyPr/>
        <a:lstStyle/>
        <a:p>
          <a:endParaRPr lang="en-US" b="1"/>
        </a:p>
      </dgm:t>
    </dgm:pt>
    <dgm:pt modelId="{7870ED83-1DE5-406F-B0F7-D8D661AAE2E7}" type="pres">
      <dgm:prSet presAssocID="{627D8AE9-3ECB-4CAC-B7A0-39CE490F129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738D009E-0F81-4BB8-9882-213BFCD17187}" type="pres">
      <dgm:prSet presAssocID="{6AF921E0-F585-4B4E-8CAA-D9C883119186}" presName="gear1" presStyleLbl="node1" presStyleIdx="0" presStyleCnt="3" custScaleX="90941" custScaleY="85369" custLinFactNeighborX="8823" custLinFactNeighborY="-2720">
        <dgm:presLayoutVars>
          <dgm:chMax val="1"/>
          <dgm:bulletEnabled val="1"/>
        </dgm:presLayoutVars>
      </dgm:prSet>
      <dgm:spPr>
        <a:prstGeom prst="gear9">
          <a:avLst/>
        </a:prstGeom>
      </dgm:spPr>
      <dgm:t>
        <a:bodyPr/>
        <a:lstStyle/>
        <a:p>
          <a:endParaRPr lang="en-US"/>
        </a:p>
      </dgm:t>
    </dgm:pt>
    <dgm:pt modelId="{60DCDFB3-A0A2-4072-B8B3-EA30E0D1833F}" type="pres">
      <dgm:prSet presAssocID="{6AF921E0-F585-4B4E-8CAA-D9C883119186}" presName="gear1srcNode" presStyleLbl="node1" presStyleIdx="0" presStyleCnt="3"/>
      <dgm:spPr/>
      <dgm:t>
        <a:bodyPr/>
        <a:lstStyle/>
        <a:p>
          <a:endParaRPr lang="en-US"/>
        </a:p>
      </dgm:t>
    </dgm:pt>
    <dgm:pt modelId="{34C32F96-4B51-4076-BB0C-25A153F1FC61}" type="pres">
      <dgm:prSet presAssocID="{6AF921E0-F585-4B4E-8CAA-D9C883119186}" presName="gear1dstNode" presStyleLbl="node1" presStyleIdx="0" presStyleCnt="3"/>
      <dgm:spPr/>
      <dgm:t>
        <a:bodyPr/>
        <a:lstStyle/>
        <a:p>
          <a:endParaRPr lang="en-US"/>
        </a:p>
      </dgm:t>
    </dgm:pt>
    <dgm:pt modelId="{65C35092-A5F8-4ACD-A891-20DF5C780EBE}" type="pres">
      <dgm:prSet presAssocID="{E47FA08C-9D31-43E7-913B-E190042D9C61}" presName="gear2" presStyleLbl="node1" presStyleIdx="1" presStyleCnt="3" custLinFactNeighborX="321" custLinFactNeighborY="1155">
        <dgm:presLayoutVars>
          <dgm:chMax val="1"/>
          <dgm:bulletEnabled val="1"/>
        </dgm:presLayoutVars>
      </dgm:prSet>
      <dgm:spPr>
        <a:prstGeom prst="gear6">
          <a:avLst/>
        </a:prstGeom>
      </dgm:spPr>
      <dgm:t>
        <a:bodyPr/>
        <a:lstStyle/>
        <a:p>
          <a:endParaRPr lang="en-US"/>
        </a:p>
      </dgm:t>
    </dgm:pt>
    <dgm:pt modelId="{C6D102ED-C59A-4D57-AC28-49FA8D5B61A0}" type="pres">
      <dgm:prSet presAssocID="{E47FA08C-9D31-43E7-913B-E190042D9C61}" presName="gear2srcNode" presStyleLbl="node1" presStyleIdx="1" presStyleCnt="3"/>
      <dgm:spPr/>
      <dgm:t>
        <a:bodyPr/>
        <a:lstStyle/>
        <a:p>
          <a:endParaRPr lang="en-US"/>
        </a:p>
      </dgm:t>
    </dgm:pt>
    <dgm:pt modelId="{1F6EED4A-184A-4A07-9502-53238B9D70BB}" type="pres">
      <dgm:prSet presAssocID="{E47FA08C-9D31-43E7-913B-E190042D9C61}" presName="gear2dstNode" presStyleLbl="node1" presStyleIdx="1" presStyleCnt="3"/>
      <dgm:spPr/>
      <dgm:t>
        <a:bodyPr/>
        <a:lstStyle/>
        <a:p>
          <a:endParaRPr lang="en-US"/>
        </a:p>
      </dgm:t>
    </dgm:pt>
    <dgm:pt modelId="{2A2163A7-FA2D-4267-8046-909C2338803E}" type="pres">
      <dgm:prSet presAssocID="{CEA576FC-0876-473D-A7A6-1F5A4BEE9225}" presName="gear3" presStyleLbl="node1" presStyleIdx="2" presStyleCnt="3" custScaleX="106641" custLinFactNeighborX="5854"/>
      <dgm:spPr>
        <a:prstGeom prst="gear6">
          <a:avLst/>
        </a:prstGeom>
      </dgm:spPr>
      <dgm:t>
        <a:bodyPr/>
        <a:lstStyle/>
        <a:p>
          <a:endParaRPr lang="en-US"/>
        </a:p>
      </dgm:t>
    </dgm:pt>
    <dgm:pt modelId="{6745243B-F565-4921-A23B-40427D55E1C0}" type="pres">
      <dgm:prSet presAssocID="{CEA576FC-0876-473D-A7A6-1F5A4BEE9225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58067B-84EB-4DAE-983A-53A54FB786FC}" type="pres">
      <dgm:prSet presAssocID="{CEA576FC-0876-473D-A7A6-1F5A4BEE9225}" presName="gear3srcNode" presStyleLbl="node1" presStyleIdx="2" presStyleCnt="3"/>
      <dgm:spPr/>
      <dgm:t>
        <a:bodyPr/>
        <a:lstStyle/>
        <a:p>
          <a:endParaRPr lang="en-US"/>
        </a:p>
      </dgm:t>
    </dgm:pt>
    <dgm:pt modelId="{208E9BC8-D652-4F87-8EA2-DCB6CD52AD50}" type="pres">
      <dgm:prSet presAssocID="{CEA576FC-0876-473D-A7A6-1F5A4BEE9225}" presName="gear3dstNode" presStyleLbl="node1" presStyleIdx="2" presStyleCnt="3"/>
      <dgm:spPr/>
      <dgm:t>
        <a:bodyPr/>
        <a:lstStyle/>
        <a:p>
          <a:endParaRPr lang="en-US"/>
        </a:p>
      </dgm:t>
    </dgm:pt>
    <dgm:pt modelId="{E325645A-DB44-4702-8502-835903D79279}" type="pres">
      <dgm:prSet presAssocID="{C87BC353-0FC0-4C4A-BF55-F5966EC61F61}" presName="connector1" presStyleLbl="sibTrans2D1" presStyleIdx="0" presStyleCnt="3"/>
      <dgm:spPr>
        <a:prstGeom prst="circularArrow">
          <a:avLst>
            <a:gd name="adj1" fmla="val 4688"/>
            <a:gd name="adj2" fmla="val 299029"/>
            <a:gd name="adj3" fmla="val 2468423"/>
            <a:gd name="adj4" fmla="val 15968248"/>
            <a:gd name="adj5" fmla="val 5469"/>
          </a:avLst>
        </a:prstGeom>
      </dgm:spPr>
      <dgm:t>
        <a:bodyPr/>
        <a:lstStyle/>
        <a:p>
          <a:endParaRPr lang="en-US"/>
        </a:p>
      </dgm:t>
    </dgm:pt>
    <dgm:pt modelId="{26D68F96-9CB4-41FF-B076-24A74ABD998A}" type="pres">
      <dgm:prSet presAssocID="{AF16500A-994F-46BA-A675-715FE628F3E6}" presName="connector2" presStyleLbl="sibTrans2D1" presStyleIdx="1" presStyleCnt="3"/>
      <dgm:spPr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</dgm:spPr>
      <dgm:t>
        <a:bodyPr/>
        <a:lstStyle/>
        <a:p>
          <a:endParaRPr lang="en-US"/>
        </a:p>
      </dgm:t>
    </dgm:pt>
    <dgm:pt modelId="{40843400-AE5D-420C-8065-01C5F640D7A5}" type="pres">
      <dgm:prSet presAssocID="{1953F840-9CB7-43E4-ACE4-D34714A8D439}" presName="connector3" presStyleLbl="sibTrans2D1" presStyleIdx="2" presStyleCnt="3"/>
      <dgm:spPr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</dgm:spPr>
      <dgm:t>
        <a:bodyPr/>
        <a:lstStyle/>
        <a:p>
          <a:endParaRPr lang="en-US"/>
        </a:p>
      </dgm:t>
    </dgm:pt>
  </dgm:ptLst>
  <dgm:cxnLst>
    <dgm:cxn modelId="{79BC04E0-596E-4064-87E2-4521B04E0D24}" type="presOf" srcId="{6AF921E0-F585-4B4E-8CAA-D9C883119186}" destId="{738D009E-0F81-4BB8-9882-213BFCD17187}" srcOrd="0" destOrd="0" presId="urn:microsoft.com/office/officeart/2005/8/layout/gear1"/>
    <dgm:cxn modelId="{2CC191D7-5517-45E1-B6BA-71340A1FE19B}" type="presOf" srcId="{E47FA08C-9D31-43E7-913B-E190042D9C61}" destId="{1F6EED4A-184A-4A07-9502-53238B9D70BB}" srcOrd="2" destOrd="0" presId="urn:microsoft.com/office/officeart/2005/8/layout/gear1"/>
    <dgm:cxn modelId="{57EBCE54-5AFA-4843-B764-C37BF09D3694}" srcId="{627D8AE9-3ECB-4CAC-B7A0-39CE490F1294}" destId="{CEA576FC-0876-473D-A7A6-1F5A4BEE9225}" srcOrd="2" destOrd="0" parTransId="{2D2CA18D-00ED-4B70-9E2F-30DFD01BB59F}" sibTransId="{1953F840-9CB7-43E4-ACE4-D34714A8D439}"/>
    <dgm:cxn modelId="{1E336095-475F-4AC8-B0D2-4CA7363C0602}" type="presOf" srcId="{1953F840-9CB7-43E4-ACE4-D34714A8D439}" destId="{40843400-AE5D-420C-8065-01C5F640D7A5}" srcOrd="0" destOrd="0" presId="urn:microsoft.com/office/officeart/2005/8/layout/gear1"/>
    <dgm:cxn modelId="{6E698EC2-7028-4269-9C1C-BDD5257AE19A}" type="presOf" srcId="{AF16500A-994F-46BA-A675-715FE628F3E6}" destId="{26D68F96-9CB4-41FF-B076-24A74ABD998A}" srcOrd="0" destOrd="0" presId="urn:microsoft.com/office/officeart/2005/8/layout/gear1"/>
    <dgm:cxn modelId="{7B6E7B47-8B63-4EC6-B097-215CEADEFCD9}" type="presOf" srcId="{E47FA08C-9D31-43E7-913B-E190042D9C61}" destId="{65C35092-A5F8-4ACD-A891-20DF5C780EBE}" srcOrd="0" destOrd="0" presId="urn:microsoft.com/office/officeart/2005/8/layout/gear1"/>
    <dgm:cxn modelId="{16C362A8-551D-469A-B7F3-319E83A16E62}" type="presOf" srcId="{CEA576FC-0876-473D-A7A6-1F5A4BEE9225}" destId="{208E9BC8-D652-4F87-8EA2-DCB6CD52AD50}" srcOrd="3" destOrd="0" presId="urn:microsoft.com/office/officeart/2005/8/layout/gear1"/>
    <dgm:cxn modelId="{EA39C8D6-770F-40F7-BCFA-2AF0017BE0C2}" type="presOf" srcId="{6AF921E0-F585-4B4E-8CAA-D9C883119186}" destId="{34C32F96-4B51-4076-BB0C-25A153F1FC61}" srcOrd="2" destOrd="0" presId="urn:microsoft.com/office/officeart/2005/8/layout/gear1"/>
    <dgm:cxn modelId="{D773C14C-ED4C-435D-9732-F9FC47E71B26}" type="presOf" srcId="{E47FA08C-9D31-43E7-913B-E190042D9C61}" destId="{C6D102ED-C59A-4D57-AC28-49FA8D5B61A0}" srcOrd="1" destOrd="0" presId="urn:microsoft.com/office/officeart/2005/8/layout/gear1"/>
    <dgm:cxn modelId="{54CA5233-5C70-491E-B13C-C8ECB5F406ED}" srcId="{627D8AE9-3ECB-4CAC-B7A0-39CE490F1294}" destId="{E47FA08C-9D31-43E7-913B-E190042D9C61}" srcOrd="1" destOrd="0" parTransId="{7F9D3F2C-3462-48AE-9E95-D3E66260A687}" sibTransId="{AF16500A-994F-46BA-A675-715FE628F3E6}"/>
    <dgm:cxn modelId="{02256A3F-2789-4853-9AD6-6F2C258A35FE}" srcId="{627D8AE9-3ECB-4CAC-B7A0-39CE490F1294}" destId="{6AF921E0-F585-4B4E-8CAA-D9C883119186}" srcOrd="0" destOrd="0" parTransId="{B1228504-B799-4E4C-A5B0-C8A1F96D3019}" sibTransId="{C87BC353-0FC0-4C4A-BF55-F5966EC61F61}"/>
    <dgm:cxn modelId="{B6434AF5-E2F2-42BB-9435-EE18E4426E21}" type="presOf" srcId="{6AF921E0-F585-4B4E-8CAA-D9C883119186}" destId="{60DCDFB3-A0A2-4072-B8B3-EA30E0D1833F}" srcOrd="1" destOrd="0" presId="urn:microsoft.com/office/officeart/2005/8/layout/gear1"/>
    <dgm:cxn modelId="{06E6F8FE-0690-47D4-8F45-0D47CAEF288C}" type="presOf" srcId="{CEA576FC-0876-473D-A7A6-1F5A4BEE9225}" destId="{2A2163A7-FA2D-4267-8046-909C2338803E}" srcOrd="0" destOrd="0" presId="urn:microsoft.com/office/officeart/2005/8/layout/gear1"/>
    <dgm:cxn modelId="{5364B795-3E96-45FF-82C2-59DE9A3E179E}" type="presOf" srcId="{627D8AE9-3ECB-4CAC-B7A0-39CE490F1294}" destId="{7870ED83-1DE5-406F-B0F7-D8D661AAE2E7}" srcOrd="0" destOrd="0" presId="urn:microsoft.com/office/officeart/2005/8/layout/gear1"/>
    <dgm:cxn modelId="{567B86F2-84D5-4618-972C-C43F6950DD6A}" type="presOf" srcId="{CEA576FC-0876-473D-A7A6-1F5A4BEE9225}" destId="{3F58067B-84EB-4DAE-983A-53A54FB786FC}" srcOrd="2" destOrd="0" presId="urn:microsoft.com/office/officeart/2005/8/layout/gear1"/>
    <dgm:cxn modelId="{565EB112-1556-4ADE-94B4-95F13CB0A92F}" type="presOf" srcId="{C87BC353-0FC0-4C4A-BF55-F5966EC61F61}" destId="{E325645A-DB44-4702-8502-835903D79279}" srcOrd="0" destOrd="0" presId="urn:microsoft.com/office/officeart/2005/8/layout/gear1"/>
    <dgm:cxn modelId="{82411DEB-6747-4A1E-9612-EA5E4FF9CBDC}" type="presOf" srcId="{CEA576FC-0876-473D-A7A6-1F5A4BEE9225}" destId="{6745243B-F565-4921-A23B-40427D55E1C0}" srcOrd="1" destOrd="0" presId="urn:microsoft.com/office/officeart/2005/8/layout/gear1"/>
    <dgm:cxn modelId="{B1F15D0F-84B7-4F6E-85ED-28407283BB56}" type="presParOf" srcId="{7870ED83-1DE5-406F-B0F7-D8D661AAE2E7}" destId="{738D009E-0F81-4BB8-9882-213BFCD17187}" srcOrd="0" destOrd="0" presId="urn:microsoft.com/office/officeart/2005/8/layout/gear1"/>
    <dgm:cxn modelId="{E3CF1882-73F8-49B5-940A-350361351E7C}" type="presParOf" srcId="{7870ED83-1DE5-406F-B0F7-D8D661AAE2E7}" destId="{60DCDFB3-A0A2-4072-B8B3-EA30E0D1833F}" srcOrd="1" destOrd="0" presId="urn:microsoft.com/office/officeart/2005/8/layout/gear1"/>
    <dgm:cxn modelId="{8B0CEF7A-65C1-4909-BA10-E69E65AACA1A}" type="presParOf" srcId="{7870ED83-1DE5-406F-B0F7-D8D661AAE2E7}" destId="{34C32F96-4B51-4076-BB0C-25A153F1FC61}" srcOrd="2" destOrd="0" presId="urn:microsoft.com/office/officeart/2005/8/layout/gear1"/>
    <dgm:cxn modelId="{71E29B50-404A-4C59-9305-80F82D982AB8}" type="presParOf" srcId="{7870ED83-1DE5-406F-B0F7-D8D661AAE2E7}" destId="{65C35092-A5F8-4ACD-A891-20DF5C780EBE}" srcOrd="3" destOrd="0" presId="urn:microsoft.com/office/officeart/2005/8/layout/gear1"/>
    <dgm:cxn modelId="{C4BC0E3E-9F3C-4024-AF15-A381376A8126}" type="presParOf" srcId="{7870ED83-1DE5-406F-B0F7-D8D661AAE2E7}" destId="{C6D102ED-C59A-4D57-AC28-49FA8D5B61A0}" srcOrd="4" destOrd="0" presId="urn:microsoft.com/office/officeart/2005/8/layout/gear1"/>
    <dgm:cxn modelId="{C03621BA-25DD-487A-B26D-B029697FBD3B}" type="presParOf" srcId="{7870ED83-1DE5-406F-B0F7-D8D661AAE2E7}" destId="{1F6EED4A-184A-4A07-9502-53238B9D70BB}" srcOrd="5" destOrd="0" presId="urn:microsoft.com/office/officeart/2005/8/layout/gear1"/>
    <dgm:cxn modelId="{8B7AEA0F-4036-4EE7-87A7-CEC0E21D4565}" type="presParOf" srcId="{7870ED83-1DE5-406F-B0F7-D8D661AAE2E7}" destId="{2A2163A7-FA2D-4267-8046-909C2338803E}" srcOrd="6" destOrd="0" presId="urn:microsoft.com/office/officeart/2005/8/layout/gear1"/>
    <dgm:cxn modelId="{55664B65-2C23-4DEC-BBC8-91720F2D22B4}" type="presParOf" srcId="{7870ED83-1DE5-406F-B0F7-D8D661AAE2E7}" destId="{6745243B-F565-4921-A23B-40427D55E1C0}" srcOrd="7" destOrd="0" presId="urn:microsoft.com/office/officeart/2005/8/layout/gear1"/>
    <dgm:cxn modelId="{2BA8BE35-36F7-4E33-A9EE-8B19F297759F}" type="presParOf" srcId="{7870ED83-1DE5-406F-B0F7-D8D661AAE2E7}" destId="{3F58067B-84EB-4DAE-983A-53A54FB786FC}" srcOrd="8" destOrd="0" presId="urn:microsoft.com/office/officeart/2005/8/layout/gear1"/>
    <dgm:cxn modelId="{3F91EED0-E846-44DA-8DAF-22D1D72673B3}" type="presParOf" srcId="{7870ED83-1DE5-406F-B0F7-D8D661AAE2E7}" destId="{208E9BC8-D652-4F87-8EA2-DCB6CD52AD50}" srcOrd="9" destOrd="0" presId="urn:microsoft.com/office/officeart/2005/8/layout/gear1"/>
    <dgm:cxn modelId="{C2280FC6-D1DA-4FEF-9C6D-5072DCDC9024}" type="presParOf" srcId="{7870ED83-1DE5-406F-B0F7-D8D661AAE2E7}" destId="{E325645A-DB44-4702-8502-835903D79279}" srcOrd="10" destOrd="0" presId="urn:microsoft.com/office/officeart/2005/8/layout/gear1"/>
    <dgm:cxn modelId="{34AA68F3-9956-4F93-9286-EA3B09A89373}" type="presParOf" srcId="{7870ED83-1DE5-406F-B0F7-D8D661AAE2E7}" destId="{26D68F96-9CB4-41FF-B076-24A74ABD998A}" srcOrd="11" destOrd="0" presId="urn:microsoft.com/office/officeart/2005/8/layout/gear1"/>
    <dgm:cxn modelId="{B581B55D-760B-411C-8797-EF5C047CCA24}" type="presParOf" srcId="{7870ED83-1DE5-406F-B0F7-D8D661AAE2E7}" destId="{40843400-AE5D-420C-8065-01C5F640D7A5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DD11825-6C43-49CB-A439-01DA82DA6568}" type="doc">
      <dgm:prSet loTypeId="urn:microsoft.com/office/officeart/2005/8/layout/hChevron3" loCatId="process" qsTypeId="urn:microsoft.com/office/officeart/2005/8/quickstyle/simple1" qsCatId="simple" csTypeId="urn:microsoft.com/office/officeart/2005/8/colors/colorful5" csCatId="colorful" phldr="1"/>
      <dgm:spPr/>
    </dgm:pt>
    <dgm:pt modelId="{28EEA20D-D6F0-4294-970E-4B507FA61365}">
      <dgm:prSet phldrT="[Text]" custT="1"/>
      <dgm:spPr/>
      <dgm:t>
        <a:bodyPr/>
        <a:lstStyle/>
        <a:p>
          <a:r>
            <a:rPr lang="en-GB" sz="1000" b="1" i="1" dirty="0" smtClean="0">
              <a:solidFill>
                <a:schemeClr val="bg2">
                  <a:lumMod val="10000"/>
                </a:schemeClr>
              </a:solidFill>
            </a:rPr>
            <a:t>Foundation/ Enabler Build - Pilot</a:t>
          </a:r>
          <a:endParaRPr lang="en-US" sz="1000" b="1" i="1" dirty="0">
            <a:solidFill>
              <a:schemeClr val="bg2">
                <a:lumMod val="10000"/>
              </a:schemeClr>
            </a:solidFill>
          </a:endParaRPr>
        </a:p>
      </dgm:t>
    </dgm:pt>
    <dgm:pt modelId="{717350C7-413C-47E2-B9C1-6611213EAEFA}" type="parTrans" cxnId="{B899CA6D-EBBD-40C7-8D8F-175C31B40DCC}">
      <dgm:prSet/>
      <dgm:spPr/>
      <dgm:t>
        <a:bodyPr/>
        <a:lstStyle/>
        <a:p>
          <a:endParaRPr lang="en-US" sz="1100"/>
        </a:p>
      </dgm:t>
    </dgm:pt>
    <dgm:pt modelId="{A7623A9F-60F8-4273-9B2C-7196EBB2C40A}" type="sibTrans" cxnId="{B899CA6D-EBBD-40C7-8D8F-175C31B40DCC}">
      <dgm:prSet/>
      <dgm:spPr/>
      <dgm:t>
        <a:bodyPr/>
        <a:lstStyle/>
        <a:p>
          <a:endParaRPr lang="en-US" sz="1100"/>
        </a:p>
      </dgm:t>
    </dgm:pt>
    <dgm:pt modelId="{A9E0E6C7-C87F-407F-933E-863EFF121126}">
      <dgm:prSet phldrT="[Text]" custT="1"/>
      <dgm:spPr/>
      <dgm:t>
        <a:bodyPr/>
        <a:lstStyle/>
        <a:p>
          <a:r>
            <a:rPr lang="en-GB" sz="1000" b="1" i="1" dirty="0" smtClean="0"/>
            <a:t>Application Rollouts</a:t>
          </a:r>
          <a:endParaRPr lang="en-US" sz="1000" b="1" i="1" dirty="0"/>
        </a:p>
      </dgm:t>
    </dgm:pt>
    <dgm:pt modelId="{C190394F-69FF-4BD7-80EB-2CAFBB7AA5AE}" type="parTrans" cxnId="{9478DB45-E5E3-44BF-8483-3F995A167F73}">
      <dgm:prSet/>
      <dgm:spPr/>
      <dgm:t>
        <a:bodyPr/>
        <a:lstStyle/>
        <a:p>
          <a:endParaRPr lang="en-US" sz="1100"/>
        </a:p>
      </dgm:t>
    </dgm:pt>
    <dgm:pt modelId="{B710A0BB-46B6-456B-826D-55C91C3F96F5}" type="sibTrans" cxnId="{9478DB45-E5E3-44BF-8483-3F995A167F73}">
      <dgm:prSet/>
      <dgm:spPr/>
      <dgm:t>
        <a:bodyPr/>
        <a:lstStyle/>
        <a:p>
          <a:endParaRPr lang="en-US" sz="1100"/>
        </a:p>
      </dgm:t>
    </dgm:pt>
    <dgm:pt modelId="{CD430E7B-D92E-4B02-A62B-2F0369039F0B}" type="pres">
      <dgm:prSet presAssocID="{EDD11825-6C43-49CB-A439-01DA82DA6568}" presName="Name0" presStyleCnt="0">
        <dgm:presLayoutVars>
          <dgm:dir/>
          <dgm:resizeHandles val="exact"/>
        </dgm:presLayoutVars>
      </dgm:prSet>
      <dgm:spPr/>
    </dgm:pt>
    <dgm:pt modelId="{E5829E3B-D498-44A9-A891-336E611EECEA}" type="pres">
      <dgm:prSet presAssocID="{28EEA20D-D6F0-4294-970E-4B507FA61365}" presName="parTxOnly" presStyleLbl="node1" presStyleIdx="0" presStyleCnt="2" custLinFactNeighborX="-25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1E4C01B-BF0E-48CD-952C-8BEA2EAC351B}" type="pres">
      <dgm:prSet presAssocID="{A7623A9F-60F8-4273-9B2C-7196EBB2C40A}" presName="parSpace" presStyleCnt="0"/>
      <dgm:spPr/>
    </dgm:pt>
    <dgm:pt modelId="{06679A4D-DC4C-421E-A8D1-29FA90BA51E2}" type="pres">
      <dgm:prSet presAssocID="{A9E0E6C7-C87F-407F-933E-863EFF121126}" presName="parTxOnly" presStyleLbl="node1" presStyleIdx="1" presStyleCnt="2" custScaleX="34598" custScaleY="25866" custLinFactNeighborY="-356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899CA6D-EBBD-40C7-8D8F-175C31B40DCC}" srcId="{EDD11825-6C43-49CB-A439-01DA82DA6568}" destId="{28EEA20D-D6F0-4294-970E-4B507FA61365}" srcOrd="0" destOrd="0" parTransId="{717350C7-413C-47E2-B9C1-6611213EAEFA}" sibTransId="{A7623A9F-60F8-4273-9B2C-7196EBB2C40A}"/>
    <dgm:cxn modelId="{E78DB685-3035-4FE8-A56E-E40EC2CCEADD}" type="presOf" srcId="{EDD11825-6C43-49CB-A439-01DA82DA6568}" destId="{CD430E7B-D92E-4B02-A62B-2F0369039F0B}" srcOrd="0" destOrd="0" presId="urn:microsoft.com/office/officeart/2005/8/layout/hChevron3"/>
    <dgm:cxn modelId="{9478DB45-E5E3-44BF-8483-3F995A167F73}" srcId="{EDD11825-6C43-49CB-A439-01DA82DA6568}" destId="{A9E0E6C7-C87F-407F-933E-863EFF121126}" srcOrd="1" destOrd="0" parTransId="{C190394F-69FF-4BD7-80EB-2CAFBB7AA5AE}" sibTransId="{B710A0BB-46B6-456B-826D-55C91C3F96F5}"/>
    <dgm:cxn modelId="{96356A7A-463F-4439-9F83-74849493ADD6}" type="presOf" srcId="{28EEA20D-D6F0-4294-970E-4B507FA61365}" destId="{E5829E3B-D498-44A9-A891-336E611EECEA}" srcOrd="0" destOrd="0" presId="urn:microsoft.com/office/officeart/2005/8/layout/hChevron3"/>
    <dgm:cxn modelId="{A4196629-2437-475C-92D6-5B16F0DD0CBA}" type="presOf" srcId="{A9E0E6C7-C87F-407F-933E-863EFF121126}" destId="{06679A4D-DC4C-421E-A8D1-29FA90BA51E2}" srcOrd="0" destOrd="0" presId="urn:microsoft.com/office/officeart/2005/8/layout/hChevron3"/>
    <dgm:cxn modelId="{9BDE86C8-D9C8-4A0C-88B8-870C282D579E}" type="presParOf" srcId="{CD430E7B-D92E-4B02-A62B-2F0369039F0B}" destId="{E5829E3B-D498-44A9-A891-336E611EECEA}" srcOrd="0" destOrd="0" presId="urn:microsoft.com/office/officeart/2005/8/layout/hChevron3"/>
    <dgm:cxn modelId="{EB753D13-12DA-45B0-86D2-11518766A6D7}" type="presParOf" srcId="{CD430E7B-D92E-4B02-A62B-2F0369039F0B}" destId="{A1E4C01B-BF0E-48CD-952C-8BEA2EAC351B}" srcOrd="1" destOrd="0" presId="urn:microsoft.com/office/officeart/2005/8/layout/hChevron3"/>
    <dgm:cxn modelId="{6953A42E-2921-4719-BAC0-FA3E88B01855}" type="presParOf" srcId="{CD430E7B-D92E-4B02-A62B-2F0369039F0B}" destId="{06679A4D-DC4C-421E-A8D1-29FA90BA51E2}" srcOrd="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EDD11825-6C43-49CB-A439-01DA82DA6568}" type="doc">
      <dgm:prSet loTypeId="urn:microsoft.com/office/officeart/2005/8/layout/hChevron3" loCatId="process" qsTypeId="urn:microsoft.com/office/officeart/2005/8/quickstyle/simple1" qsCatId="simple" csTypeId="urn:microsoft.com/office/officeart/2005/8/colors/colorful5" csCatId="colorful" phldr="1"/>
      <dgm:spPr/>
    </dgm:pt>
    <dgm:pt modelId="{28EEA20D-D6F0-4294-970E-4B507FA61365}">
      <dgm:prSet phldrT="[Text]" custT="1"/>
      <dgm:spPr/>
      <dgm:t>
        <a:bodyPr/>
        <a:lstStyle/>
        <a:p>
          <a:r>
            <a:rPr lang="en-GB" sz="1800" smtClean="0">
              <a:solidFill>
                <a:schemeClr val="bg2">
                  <a:lumMod val="50000"/>
                </a:schemeClr>
              </a:solidFill>
            </a:rPr>
            <a:t>Wave 1 (Pilot)</a:t>
          </a:r>
          <a:endParaRPr lang="en-US" sz="1800" dirty="0">
            <a:solidFill>
              <a:schemeClr val="bg2">
                <a:lumMod val="50000"/>
              </a:schemeClr>
            </a:solidFill>
          </a:endParaRPr>
        </a:p>
      </dgm:t>
    </dgm:pt>
    <dgm:pt modelId="{717350C7-413C-47E2-B9C1-6611213EAEFA}" type="parTrans" cxnId="{B899CA6D-EBBD-40C7-8D8F-175C31B40DCC}">
      <dgm:prSet/>
      <dgm:spPr/>
      <dgm:t>
        <a:bodyPr/>
        <a:lstStyle/>
        <a:p>
          <a:endParaRPr lang="en-US" sz="1100"/>
        </a:p>
      </dgm:t>
    </dgm:pt>
    <dgm:pt modelId="{A7623A9F-60F8-4273-9B2C-7196EBB2C40A}" type="sibTrans" cxnId="{B899CA6D-EBBD-40C7-8D8F-175C31B40DCC}">
      <dgm:prSet/>
      <dgm:spPr/>
      <dgm:t>
        <a:bodyPr/>
        <a:lstStyle/>
        <a:p>
          <a:endParaRPr lang="en-US" sz="1100"/>
        </a:p>
      </dgm:t>
    </dgm:pt>
    <dgm:pt modelId="{A9E0E6C7-C87F-407F-933E-863EFF121126}">
      <dgm:prSet phldrT="[Text]" custT="1"/>
      <dgm:spPr/>
      <dgm:t>
        <a:bodyPr/>
        <a:lstStyle/>
        <a:p>
          <a:r>
            <a:rPr lang="en-GB" sz="1800" dirty="0" smtClean="0"/>
            <a:t>Wave 2</a:t>
          </a:r>
          <a:endParaRPr lang="en-US" sz="1800" dirty="0"/>
        </a:p>
      </dgm:t>
    </dgm:pt>
    <dgm:pt modelId="{C190394F-69FF-4BD7-80EB-2CAFBB7AA5AE}" type="parTrans" cxnId="{9478DB45-E5E3-44BF-8483-3F995A167F73}">
      <dgm:prSet/>
      <dgm:spPr/>
      <dgm:t>
        <a:bodyPr/>
        <a:lstStyle/>
        <a:p>
          <a:endParaRPr lang="en-US" sz="1100"/>
        </a:p>
      </dgm:t>
    </dgm:pt>
    <dgm:pt modelId="{B710A0BB-46B6-456B-826D-55C91C3F96F5}" type="sibTrans" cxnId="{9478DB45-E5E3-44BF-8483-3F995A167F73}">
      <dgm:prSet/>
      <dgm:spPr/>
      <dgm:t>
        <a:bodyPr/>
        <a:lstStyle/>
        <a:p>
          <a:endParaRPr lang="en-US" sz="1100"/>
        </a:p>
      </dgm:t>
    </dgm:pt>
    <dgm:pt modelId="{D485C978-97F7-4613-BF11-688686416BC6}">
      <dgm:prSet phldrT="[Text]" custT="1"/>
      <dgm:spPr/>
      <dgm:t>
        <a:bodyPr/>
        <a:lstStyle/>
        <a:p>
          <a:r>
            <a:rPr lang="en-GB" sz="1800" dirty="0" smtClean="0"/>
            <a:t>Wave 3</a:t>
          </a:r>
          <a:endParaRPr lang="en-US" sz="1800" dirty="0"/>
        </a:p>
      </dgm:t>
    </dgm:pt>
    <dgm:pt modelId="{49ED2777-4DD7-4FC3-ADDD-A5F0981C7945}" type="parTrans" cxnId="{E7230396-7E18-4F5E-A8E0-59CA0DF83449}">
      <dgm:prSet/>
      <dgm:spPr/>
      <dgm:t>
        <a:bodyPr/>
        <a:lstStyle/>
        <a:p>
          <a:endParaRPr lang="en-US" sz="1100"/>
        </a:p>
      </dgm:t>
    </dgm:pt>
    <dgm:pt modelId="{2A7D9698-3D9C-46A3-A359-8B81433E4631}" type="sibTrans" cxnId="{E7230396-7E18-4F5E-A8E0-59CA0DF83449}">
      <dgm:prSet/>
      <dgm:spPr/>
      <dgm:t>
        <a:bodyPr/>
        <a:lstStyle/>
        <a:p>
          <a:endParaRPr lang="en-US" sz="1100"/>
        </a:p>
      </dgm:t>
    </dgm:pt>
    <dgm:pt modelId="{DD0C419E-6F54-42E7-81EF-EAD0AACB9DB3}">
      <dgm:prSet phldrT="[Text]" custT="1"/>
      <dgm:spPr/>
      <dgm:t>
        <a:bodyPr/>
        <a:lstStyle/>
        <a:p>
          <a:r>
            <a:rPr lang="en-GB" sz="1800" dirty="0" smtClean="0"/>
            <a:t>Wave 4</a:t>
          </a:r>
          <a:endParaRPr lang="en-US" sz="1800" dirty="0"/>
        </a:p>
      </dgm:t>
    </dgm:pt>
    <dgm:pt modelId="{2F91B5A9-C0DE-4020-A51F-EA212B1B69AB}" type="parTrans" cxnId="{6B890294-41A6-4605-B902-8D5885D24776}">
      <dgm:prSet/>
      <dgm:spPr/>
      <dgm:t>
        <a:bodyPr/>
        <a:lstStyle/>
        <a:p>
          <a:endParaRPr lang="en-US" sz="1100"/>
        </a:p>
      </dgm:t>
    </dgm:pt>
    <dgm:pt modelId="{153906E1-E8EC-4DA9-8A1D-6392FE351F0A}" type="sibTrans" cxnId="{6B890294-41A6-4605-B902-8D5885D24776}">
      <dgm:prSet/>
      <dgm:spPr/>
      <dgm:t>
        <a:bodyPr/>
        <a:lstStyle/>
        <a:p>
          <a:endParaRPr lang="en-US" sz="1100"/>
        </a:p>
      </dgm:t>
    </dgm:pt>
    <dgm:pt modelId="{CD430E7B-D92E-4B02-A62B-2F0369039F0B}" type="pres">
      <dgm:prSet presAssocID="{EDD11825-6C43-49CB-A439-01DA82DA6568}" presName="Name0" presStyleCnt="0">
        <dgm:presLayoutVars>
          <dgm:dir/>
          <dgm:resizeHandles val="exact"/>
        </dgm:presLayoutVars>
      </dgm:prSet>
      <dgm:spPr/>
    </dgm:pt>
    <dgm:pt modelId="{E5829E3B-D498-44A9-A891-336E611EECEA}" type="pres">
      <dgm:prSet presAssocID="{28EEA20D-D6F0-4294-970E-4B507FA61365}" presName="parTxOnly" presStyleLbl="node1" presStyleIdx="0" presStyleCnt="4" custLinFactNeighborX="-25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1E4C01B-BF0E-48CD-952C-8BEA2EAC351B}" type="pres">
      <dgm:prSet presAssocID="{A7623A9F-60F8-4273-9B2C-7196EBB2C40A}" presName="parSpace" presStyleCnt="0"/>
      <dgm:spPr/>
    </dgm:pt>
    <dgm:pt modelId="{06679A4D-DC4C-421E-A8D1-29FA90BA51E2}" type="pres">
      <dgm:prSet presAssocID="{A9E0E6C7-C87F-407F-933E-863EFF121126}" presName="parTxOnly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44D42D-68A3-43F3-9550-76F2A548963F}" type="pres">
      <dgm:prSet presAssocID="{B710A0BB-46B6-456B-826D-55C91C3F96F5}" presName="parSpace" presStyleCnt="0"/>
      <dgm:spPr/>
    </dgm:pt>
    <dgm:pt modelId="{504CCA25-8EB1-494F-9862-B188DC1FAA43}" type="pres">
      <dgm:prSet presAssocID="{D485C978-97F7-4613-BF11-688686416BC6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5E0BFF4-A753-4378-BB28-DFF82DF68E7B}" type="pres">
      <dgm:prSet presAssocID="{2A7D9698-3D9C-46A3-A359-8B81433E4631}" presName="parSpace" presStyleCnt="0"/>
      <dgm:spPr/>
    </dgm:pt>
    <dgm:pt modelId="{88CB703C-5242-4DA5-A4CD-5DC394975636}" type="pres">
      <dgm:prSet presAssocID="{DD0C419E-6F54-42E7-81EF-EAD0AACB9DB3}" presName="parTxOnly" presStyleLbl="node1" presStyleIdx="3" presStyleCnt="4" custLinFactNeighborX="498" custLinFactNeighborY="257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7230396-7E18-4F5E-A8E0-59CA0DF83449}" srcId="{EDD11825-6C43-49CB-A439-01DA82DA6568}" destId="{D485C978-97F7-4613-BF11-688686416BC6}" srcOrd="2" destOrd="0" parTransId="{49ED2777-4DD7-4FC3-ADDD-A5F0981C7945}" sibTransId="{2A7D9698-3D9C-46A3-A359-8B81433E4631}"/>
    <dgm:cxn modelId="{9478DB45-E5E3-44BF-8483-3F995A167F73}" srcId="{EDD11825-6C43-49CB-A439-01DA82DA6568}" destId="{A9E0E6C7-C87F-407F-933E-863EFF121126}" srcOrd="1" destOrd="0" parTransId="{C190394F-69FF-4BD7-80EB-2CAFBB7AA5AE}" sibTransId="{B710A0BB-46B6-456B-826D-55C91C3F96F5}"/>
    <dgm:cxn modelId="{119A7969-5E65-420F-8667-0B4A8622A9A1}" type="presOf" srcId="{DD0C419E-6F54-42E7-81EF-EAD0AACB9DB3}" destId="{88CB703C-5242-4DA5-A4CD-5DC394975636}" srcOrd="0" destOrd="0" presId="urn:microsoft.com/office/officeart/2005/8/layout/hChevron3"/>
    <dgm:cxn modelId="{290D142D-FE13-410A-A8D8-8DFCFDA577EA}" type="presOf" srcId="{D485C978-97F7-4613-BF11-688686416BC6}" destId="{504CCA25-8EB1-494F-9862-B188DC1FAA43}" srcOrd="0" destOrd="0" presId="urn:microsoft.com/office/officeart/2005/8/layout/hChevron3"/>
    <dgm:cxn modelId="{6B890294-41A6-4605-B902-8D5885D24776}" srcId="{EDD11825-6C43-49CB-A439-01DA82DA6568}" destId="{DD0C419E-6F54-42E7-81EF-EAD0AACB9DB3}" srcOrd="3" destOrd="0" parTransId="{2F91B5A9-C0DE-4020-A51F-EA212B1B69AB}" sibTransId="{153906E1-E8EC-4DA9-8A1D-6392FE351F0A}"/>
    <dgm:cxn modelId="{B899CA6D-EBBD-40C7-8D8F-175C31B40DCC}" srcId="{EDD11825-6C43-49CB-A439-01DA82DA6568}" destId="{28EEA20D-D6F0-4294-970E-4B507FA61365}" srcOrd="0" destOrd="0" parTransId="{717350C7-413C-47E2-B9C1-6611213EAEFA}" sibTransId="{A7623A9F-60F8-4273-9B2C-7196EBB2C40A}"/>
    <dgm:cxn modelId="{E25B1728-9B5E-44F3-AA99-1428E6357894}" type="presOf" srcId="{A9E0E6C7-C87F-407F-933E-863EFF121126}" destId="{06679A4D-DC4C-421E-A8D1-29FA90BA51E2}" srcOrd="0" destOrd="0" presId="urn:microsoft.com/office/officeart/2005/8/layout/hChevron3"/>
    <dgm:cxn modelId="{D7EFE7D2-7431-4CD6-8559-2D5C4042A3C9}" type="presOf" srcId="{EDD11825-6C43-49CB-A439-01DA82DA6568}" destId="{CD430E7B-D92E-4B02-A62B-2F0369039F0B}" srcOrd="0" destOrd="0" presId="urn:microsoft.com/office/officeart/2005/8/layout/hChevron3"/>
    <dgm:cxn modelId="{DD13D89A-D36B-43FA-A1B5-9AFC21810D5A}" type="presOf" srcId="{28EEA20D-D6F0-4294-970E-4B507FA61365}" destId="{E5829E3B-D498-44A9-A891-336E611EECEA}" srcOrd="0" destOrd="0" presId="urn:microsoft.com/office/officeart/2005/8/layout/hChevron3"/>
    <dgm:cxn modelId="{E22FC3D5-C07F-4747-9302-CD7670FCA76D}" type="presParOf" srcId="{CD430E7B-D92E-4B02-A62B-2F0369039F0B}" destId="{E5829E3B-D498-44A9-A891-336E611EECEA}" srcOrd="0" destOrd="0" presId="urn:microsoft.com/office/officeart/2005/8/layout/hChevron3"/>
    <dgm:cxn modelId="{7B9C234F-7E53-4135-B0CF-9B5D7471BF9F}" type="presParOf" srcId="{CD430E7B-D92E-4B02-A62B-2F0369039F0B}" destId="{A1E4C01B-BF0E-48CD-952C-8BEA2EAC351B}" srcOrd="1" destOrd="0" presId="urn:microsoft.com/office/officeart/2005/8/layout/hChevron3"/>
    <dgm:cxn modelId="{843BDE45-7464-4F36-99DC-6C98F5EB627C}" type="presParOf" srcId="{CD430E7B-D92E-4B02-A62B-2F0369039F0B}" destId="{06679A4D-DC4C-421E-A8D1-29FA90BA51E2}" srcOrd="2" destOrd="0" presId="urn:microsoft.com/office/officeart/2005/8/layout/hChevron3"/>
    <dgm:cxn modelId="{C55DA36C-3FF0-43A8-8A47-B517C3DA5059}" type="presParOf" srcId="{CD430E7B-D92E-4B02-A62B-2F0369039F0B}" destId="{0844D42D-68A3-43F3-9550-76F2A548963F}" srcOrd="3" destOrd="0" presId="urn:microsoft.com/office/officeart/2005/8/layout/hChevron3"/>
    <dgm:cxn modelId="{9FDA4946-F1B8-4778-8363-06A9D47190C3}" type="presParOf" srcId="{CD430E7B-D92E-4B02-A62B-2F0369039F0B}" destId="{504CCA25-8EB1-494F-9862-B188DC1FAA43}" srcOrd="4" destOrd="0" presId="urn:microsoft.com/office/officeart/2005/8/layout/hChevron3"/>
    <dgm:cxn modelId="{AF90D8B3-D09A-41FD-A502-8ADAE28EA813}" type="presParOf" srcId="{CD430E7B-D92E-4B02-A62B-2F0369039F0B}" destId="{75E0BFF4-A753-4378-BB28-DFF82DF68E7B}" srcOrd="5" destOrd="0" presId="urn:microsoft.com/office/officeart/2005/8/layout/hChevron3"/>
    <dgm:cxn modelId="{2D9AA709-CEFE-464E-B90A-CA1547C5FD08}" type="presParOf" srcId="{CD430E7B-D92E-4B02-A62B-2F0369039F0B}" destId="{88CB703C-5242-4DA5-A4CD-5DC394975636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1/layout/CircleProcess">
  <dgm:title val="Circle Process"/>
  <dgm:desc val="Use to show sequential steps in a process. Limited to eleven Level 1 shapes with an unlimited number of Level 2 shapes. Works best with small amounts of text. Unused text does not appear, but remains available if you switch layouts."/>
  <dgm:catLst>
    <dgm:cat type="process" pri="8500"/>
    <dgm:cat type="officeonline" pri="85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11"/>
      <dgm:chPref val="1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5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Parent2" refType="w" fact="0.6249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l" for="ch" forName="Parent1" refType="w" fact="0.1597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l" for="ch" forName="Accent2" refType="w" fact="0.5498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l" for="ch" forName="ParentBackground2" refType="w" fact="0.5648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l" for="ch" forName="Child2" refType="w" fact="0.5648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l" for="ch" forName="Accent1" refType="w" fact="-0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l" for="ch" forName="ParentBackground1" refType="w" fact="0.0997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l" for="ch" forName="Child1" refType="w" fact="0.0997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6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Parent3" refType="w" fact="0.744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l" for="ch" forName="Parent2" refType="w" fact="0.426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l" for="ch" forName="Parent1" refType="w" fact="0.109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l" for="ch" forName="Accent3" refType="w" fact="0.6928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l" for="ch" forName="ParentBackground3" refType="w" fact="0.703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l" for="ch" forName="Child3" refType="w" fact="0.703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l" for="ch" forName="Accent2" refType="w" fact="0.3122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l" for="ch" forName="ParentBackground2" refType="w" fact="0.385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l" for="ch" forName="Child2" refType="w" fact="0.385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l" for="ch" forName="Accent1" refType="w" fact="-0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l" for="ch" forName="ParentBackground1" refType="w" fact="0.068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l" for="ch" forName="Child1" refType="w" fact="0.068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7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Parent4" refType="w" fact="0.8057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l" for="ch" forName="Parent3" refType="w" fact="0.5647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l" for="ch" forName="Parent2" refType="w" fact="0.3237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l" for="ch" forName="Parent1" refType="w" fact="0.0827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l" for="ch" forName="Accent4" refType="w" fact="0.7668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l" for="ch" forName="ParentBackground4" refType="w" fact="0.7746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l" for="ch" forName="Child4" refType="w" fact="0.7746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l" for="ch" forName="Accent3" refType="w" fact="0.476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l" for="ch" forName="ParentBackground3" refType="w" fact="0.5336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l" for="ch" forName="Child3" refType="w" fact="0.5336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l" for="ch" forName="Accent2" refType="w" fact="0.236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l" for="ch" forName="ParentBackground2" refType="w" fact="0.2926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l" for="ch" forName="Child2" refType="w" fact="0.2926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l" for="ch" forName="Accent1" refType="w" fact="-0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l" for="ch" forName="ParentBackground1" refType="w" fact="0.0516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l" for="ch" forName="Child1" refType="w" fact="0.0516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8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Parent5" refType="w" fact="0.8434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l" for="ch" forName="Parent4" refType="w" fact="0.6492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l" for="ch" forName="Parent3" refType="w" fact="0.45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l" for="ch" forName="Parent2" refType="w" fact="0.2609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l" for="ch" forName="Parent1" refType="w" fact="0.0667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l" for="ch" forName="Accent5" refType="w" fact="0.8121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l" for="ch" forName="ParentBackground5" refType="w" fact="0.8183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l" for="ch" forName="Child5" refType="w" fact="0.8183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l" for="ch" forName="Accent4" refType="w" fact="0.5789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l" for="ch" forName="ParentBackground4" refType="w" fact="0.6242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l" for="ch" forName="Child4" refType="w" fact="0.6242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l" for="ch" forName="Accent3" refType="w" fact="0.3848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l" for="ch" forName="ParentBackground3" refType="w" fact="0.43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l" for="ch" forName="Child3" refType="w" fact="0.43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l" for="ch" forName="Accent2" refType="w" fact="0.1906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l" for="ch" forName="ParentBackground2" refType="w" fact="0.2358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l" for="ch" forName="Child2" refType="w" fact="0.2358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l" for="ch" forName="Accent1" refType="w" fact="-0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l" for="ch" forName="ParentBackground1" refType="w" fact="0.0416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l" for="ch" forName="Child1" refType="w" fact="0.0416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9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Parent6" refType="w" fact="0.8689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l" for="ch" forName="Parent5" refType="w" fact="0.7063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l" for="ch" forName="Parent4" refType="w" fact="0.5437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l" for="ch" forName="Parent3" refType="w" fact="0.381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l" for="ch" forName="Parent2" refType="w" fact="0.2184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l" for="ch" forName="Parent1" refType="w" fact="0.0558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l" for="ch" forName="Accent6" refType="w" fact="0.8426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l" for="ch" forName="ParentBackground6" refType="w" fact="0.8479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l" for="ch" forName="Child6" refType="w" fact="0.8479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l" for="ch" forName="Accent5" refType="w" fact="0.6474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l" for="ch" forName="ParentBackground5" refType="w" fact="0.6853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l" for="ch" forName="Child5" refType="w" fact="0.6853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l" for="ch" forName="Accent4" refType="w" fact="0.4848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l" for="ch" forName="ParentBackground4" refType="w" fact="0.5227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l" for="ch" forName="Child4" refType="w" fact="0.5227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l" for="ch" forName="Accent3" refType="w" fact="0.3222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l" for="ch" forName="ParentBackground3" refType="w" fact="0.3601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l" for="ch" forName="Child3" refType="w" fact="0.3601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l" for="ch" forName="Accent2" refType="w" fact="0.1596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l" for="ch" forName="ParentBackground2" refType="w" fact="0.197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l" for="ch" forName="Child2" refType="w" fact="0.197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l" for="ch" forName="Accent1" refType="w" fact="-0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l" for="ch" forName="ParentBackground1" refType="w" fact="0.0348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l" for="ch" forName="Child1" refType="w" fact="0.0348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10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Parent7" refType="w" fact="0.8872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l" for="ch" forName="Parent6" refType="w" fact="0.7473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l" for="ch" forName="Parent5" refType="w" fact="0.607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l" for="ch" forName="Parent4" refType="w" fact="0.4676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l" for="ch" forName="Parent3" refType="w" fact="0.3277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l" for="ch" forName="Parent2" refType="w" fact="0.1879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l" for="ch" forName="Parent1" refType="w" fact="0.048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l" for="ch" forName="Accent7" refType="w" fact="0.8646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l" for="ch" forName="ParentBackground7" refType="w" fact="0.8692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l" for="ch" forName="Child7" refType="w" fact="0.8692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l" for="ch" forName="Accent6" refType="w" fact="0.6967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l" for="ch" forName="ParentBackground6" refType="w" fact="0.7293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l" for="ch" forName="Child6" refType="w" fact="0.7293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l" for="ch" forName="Accent5" refType="w" fact="0.5569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l" for="ch" forName="ParentBackground5" refType="w" fact="0.5894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l" for="ch" forName="Child5" refType="w" fact="0.5894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l" for="ch" forName="Accent4" refType="w" fact="0.417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l" for="ch" forName="ParentBackground4" refType="w" fact="0.4496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l" for="ch" forName="Child4" refType="w" fact="0.4496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l" for="ch" forName="Accent3" refType="w" fact="0.2771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l" for="ch" forName="ParentBackground3" refType="w" fact="0.3097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l" for="ch" forName="Child3" refType="w" fact="0.3097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l" for="ch" forName="Accent2" refType="w" fact="0.1373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l" for="ch" forName="ParentBackground2" refType="w" fact="0.1698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l" for="ch" forName="Child2" refType="w" fact="0.1698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l" for="ch" forName="Accent1" refType="w" fact="-0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l" for="ch" forName="ParentBackground1" refType="w" fact="0.03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l" for="ch" forName="Child1" refType="w" fact="0.03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11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l" for="ch" forName="Parent8" refType="w" fact="0.901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l" for="ch" forName="Parent7" refType="w" fact="0.7783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l" for="ch" forName="Parent6" refType="w" fact="0.6556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l" for="ch" forName="Parent5" refType="w" fact="0.5329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l" for="ch" forName="Parent4" refType="w" fact="0.4102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l" for="ch" forName="Parent3" refType="w" fact="0.287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l" for="ch" forName="Parent2" refType="w" fact="0.1648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l" for="ch" forName="Parent1" refType="w" fact="0.0421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l" for="ch" forName="Accent8" refType="w" fact="0.8813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l" for="ch" forName="ParentBackground8" refType="w" fact="0.8852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l" for="ch" forName="Child8" refType="w" fact="0.8852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l" for="ch" forName="Accent7" refType="w" fact="0.7339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l" for="ch" forName="ParentBackground7" refType="w" fact="0.762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l" for="ch" forName="Child7" refType="w" fact="0.762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l" for="ch" forName="Accent6" refType="w" fact="0.6112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l" for="ch" forName="ParentBackground6" refType="w" fact="0.6398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l" for="ch" forName="Child6" refType="w" fact="0.6398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l" for="ch" forName="Accent5" refType="w" fact="0.488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l" for="ch" forName="ParentBackground5" refType="w" fact="0.5171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l" for="ch" forName="Child5" refType="w" fact="0.5171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l" for="ch" forName="Accent4" refType="w" fact="0.3658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l" for="ch" forName="ParentBackground4" refType="w" fact="0.3944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l" for="ch" forName="Child4" refType="w" fact="0.3944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l" for="ch" forName="Accent3" refType="w" fact="0.2431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l" for="ch" forName="ParentBackground3" refType="w" fact="0.2717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l" for="ch" forName="Child3" refType="w" fact="0.2717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l" for="ch" forName="Accent2" refType="w" fact="0.1204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l" for="ch" forName="ParentBackground2" refType="w" fact="0.149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l" for="ch" forName="Child2" refType="w" fact="0.149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l" for="ch" forName="Accent1" refType="w" fact="-0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l" for="ch" forName="ParentBackground1" refType="w" fact="0.0263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l" for="ch" forName="Child1" refType="w" fact="0.0263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12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l" for="ch" forName="Parent9" refType="w" fact="0.9119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l" for="ch" forName="Parent8" refType="w" fact="0.8026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l" for="ch" forName="Parent7" refType="w" fact="0.6933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l" for="ch" forName="Parent6" refType="w" fact="0.584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l" for="ch" forName="Parent5" refType="w" fact="0.4747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l" for="ch" forName="Parent4" refType="w" fact="0.3654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l" for="ch" forName="Parent3" refType="w" fact="0.2561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l" for="ch" forName="Parent2" refType="w" fact="0.1468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l" for="ch" forName="Parent1" refType="w" fact="0.037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l" for="ch" forName="Accent9" refType="w" fact="0.8942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l" for="ch" forName="ParentBackground9" refType="w" fact="0.8978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l" for="ch" forName="Child9" refType="w" fact="0.8978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l" for="ch" forName="Accent8" refType="w" fact="0.763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l" for="ch" forName="ParentBackground8" refType="w" fact="0.788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l" for="ch" forName="Child8" refType="w" fact="0.788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l" for="ch" forName="Accent7" refType="w" fact="0.6538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l" for="ch" forName="ParentBackground7" refType="w" fact="0.6792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l" for="ch" forName="Child7" refType="w" fact="0.6792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l" for="ch" forName="Accent6" refType="w" fact="0.544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l" for="ch" forName="ParentBackground6" refType="w" fact="0.5699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l" for="ch" forName="Child6" refType="w" fact="0.5699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l" for="ch" forName="Accent5" refType="w" fact="0.4352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l" for="ch" forName="ParentBackground5" refType="w" fact="0.4606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l" for="ch" forName="Child5" refType="w" fact="0.4606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l" for="ch" forName="Accent4" refType="w" fact="0.3259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l" for="ch" forName="ParentBackground4" refType="w" fact="0.3513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l" for="ch" forName="Child4" refType="w" fact="0.3513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l" for="ch" forName="Accent3" refType="w" fact="0.2166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l" for="ch" forName="ParentBackground3" refType="w" fact="0.242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l" for="ch" forName="Child3" refType="w" fact="0.242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l" for="ch" forName="Accent2" refType="w" fact="0.1073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l" for="ch" forName="ParentBackground2" refType="w" fact="0.1327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l" for="ch" forName="Child2" refType="w" fact="0.1327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l" for="ch" forName="Accent1" refType="w" fact="-0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l" for="ch" forName="ParentBackground1" refType="w" fact="0.0234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l" for="ch" forName="Child1" refType="w" fact="0.0234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13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l" for="ch" forName="Parent10" refType="w" fact="0.920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l" for="ch" forName="Parent9" refType="w" fact="0.822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l" for="ch" forName="Parent8" refType="w" fact="0.723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l" for="ch" forName="Parent7" refType="w" fact="0.62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l" for="ch" forName="Parent6" refType="w" fact="0.5264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l" for="ch" forName="Parent5" refType="w" fact="0.4279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l" for="ch" forName="Parent4" refType="w" fact="0.3294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l" for="ch" forName="Parent3" refType="w" fact="0.2309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l" for="ch" forName="Parent2" refType="w" fact="0.1324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l" for="ch" forName="Parent1" refType="w" fact="0.0338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l" for="ch" forName="Accent10" refType="w" fact="0.9047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l" for="ch" forName="ParentBackground10" refType="w" fact="0.9078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l" for="ch" forName="Child10" refType="w" fact="0.9078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l" for="ch" forName="Accent9" refType="w" fact="0.7864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l" for="ch" forName="ParentBackground9" refType="w" fact="0.8093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l" for="ch" forName="Child9" refType="w" fact="0.8093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l" for="ch" forName="Accent8" refType="w" fact="0.6879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l" for="ch" forName="ParentBackground8" refType="w" fact="0.7108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l" for="ch" forName="Child8" refType="w" fact="0.7108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l" for="ch" forName="Accent7" refType="w" fact="0.5893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l" for="ch" forName="ParentBackground7" refType="w" fact="0.6123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l" for="ch" forName="Child7" refType="w" fact="0.6123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l" for="ch" forName="Accent6" refType="w" fact="0.4908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l" for="ch" forName="ParentBackground6" refType="w" fact="0.5137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l" for="ch" forName="Child6" refType="w" fact="0.5137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l" for="ch" forName="Accent5" refType="w" fact="0.3923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l" for="ch" forName="ParentBackground5" refType="w" fact="0.4152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l" for="ch" forName="Child5" refType="w" fact="0.4152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l" for="ch" forName="Accent4" refType="w" fact="0.2938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l" for="ch" forName="ParentBackground4" refType="w" fact="0.3167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l" for="ch" forName="Child4" refType="w" fact="0.3167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l" for="ch" forName="Accent3" refType="w" fact="0.1952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l" for="ch" forName="ParentBackground3" refType="w" fact="0.2182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l" for="ch" forName="Child3" refType="w" fact="0.2182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l" for="ch" forName="Accent2" refType="w" fact="0.0967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l" for="ch" forName="ParentBackground2" refType="w" fact="0.1196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l" for="ch" forName="Child2" refType="w" fact="0.1196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l" for="ch" forName="Accent1" refType="w" fact="-0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l" for="ch" forName="ParentBackground1" refType="w" fact="0.0211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l" for="ch" forName="Child1" refType="w" fact="0.0211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14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l" for="ch" forName="Parent11" refType="w" fact="0.9277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l" for="ch" forName="Parent10" refType="w" fact="0.838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l" for="ch" forName="Parent9" refType="w" fact="0.7483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l" for="ch" forName="Parent8" refType="w" fact="0.6586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l" for="ch" forName="Parent7" refType="w" fact="0.5689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l" for="ch" forName="Parent6" refType="w" fact="0.4792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l" for="ch" forName="Parent5" refType="w" fact="0.389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l" for="ch" forName="Parent4" refType="w" fact="0.2999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l" for="ch" forName="Parent3" refType="w" fact="0.2102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l" for="ch" forName="Parent2" refType="w" fact="0.120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l" for="ch" forName="Parent1" refType="w" fact="0.0308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l" for="ch" forName="Accent11" refType="w" fact="0.9132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l" for="ch" forName="ParentBackground11" refType="w" fact="0.9161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l" for="ch" forName="Child11" refType="w" fact="0.9161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l" for="ch" forName="Accent10" refType="w" fact="0.805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l" for="ch" forName="ParentBackground10" refType="w" fact="0.8264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l" for="ch" forName="Child10" refType="w" fact="0.8264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l" for="ch" forName="Accent9" refType="w" fact="0.7158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l" for="ch" forName="ParentBackground9" refType="w" fact="0.7367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l" for="ch" forName="Child9" refType="w" fact="0.7367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l" for="ch" forName="Accent8" refType="w" fact="0.6261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l" for="ch" forName="ParentBackground8" refType="w" fact="0.647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l" for="ch" forName="Child8" refType="w" fact="0.647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l" for="ch" forName="Accent7" refType="w" fact="0.5364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l" for="ch" forName="ParentBackground7" refType="w" fact="0.5573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l" for="ch" forName="Child7" refType="w" fact="0.5573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l" for="ch" forName="Accent6" refType="w" fact="0.4467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l" for="ch" forName="ParentBackground6" refType="w" fact="0.4677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l" for="ch" forName="Child6" refType="w" fact="0.4677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l" for="ch" forName="Accent5" refType="w" fact="0.3571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l" for="ch" forName="ParentBackground5" refType="w" fact="0.378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l" for="ch" forName="Child5" refType="w" fact="0.378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l" for="ch" forName="Accent4" refType="w" fact="0.2674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l" for="ch" forName="ParentBackground4" refType="w" fact="0.2883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l" for="ch" forName="Child4" refType="w" fact="0.2883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l" for="ch" forName="Accent3" refType="w" fact="0.1777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l" for="ch" forName="ParentBackground3" refType="w" fact="0.1986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l" for="ch" forName="Child3" refType="w" fact="0.1986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l" for="ch" forName="Accent2" refType="w" fact="0.088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l" for="ch" forName="ParentBackground2" refType="w" fact="0.1089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l" for="ch" forName="Child2" refType="w" fact="0.1089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l" for="ch" forName="Accent1" refType="w" fact="-0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l" for="ch" forName="ParentBackground1" refType="w" fact="0.0192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l" for="ch" forName="Child1" refType="w" fact="0.0192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if>
      <dgm:else name="Name15">
        <dgm:choose name="Name16">
          <dgm:if name="Name17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18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r" for="ch" forName="Parent2" refType="w" fact="0.3751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r" for="ch" forName="Parent1" refType="w" fact="0.8403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r" for="ch" forName="Accent2" refType="w" fact="0.4502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r" for="ch" forName="ParentBackground2" refType="w" fact="0.4352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r" for="ch" forName="Child2" refType="w" fact="0.4352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r" for="ch" forName="Accent1" refType="w" fact="1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r" for="ch" forName="ParentBackground1" refType="w" fact="0.9003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r" for="ch" forName="Child1" refType="w" fact="0.9003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19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Parent3" refType="w" fact="0.256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r" for="ch" forName="Parent2" refType="w" fact="0.573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r" for="ch" forName="Parent1" refType="w" fact="0.891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r" for="ch" forName="Accent3" refType="w" fact="0.3072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r" for="ch" forName="ParentBackground3" refType="w" fact="0.297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r" for="ch" forName="Child3" refType="w" fact="0.297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r" for="ch" forName="Accent2" refType="w" fact="0.6878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r" for="ch" forName="ParentBackground2" refType="w" fact="0.614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r" for="ch" forName="Child2" refType="w" fact="0.614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r" for="ch" forName="Accent1" refType="w" fact="1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r" for="ch" forName="ParentBackground1" refType="w" fact="0.932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r" for="ch" forName="Child1" refType="w" fact="0.932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20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Parent4" refType="w" fact="0.1943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r" for="ch" forName="Parent3" refType="w" fact="0.4353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r" for="ch" forName="Parent2" refType="w" fact="0.6763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r" for="ch" forName="Parent1" refType="w" fact="0.9173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r" for="ch" forName="Accent4" refType="w" fact="0.2332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r" for="ch" forName="ParentBackground4" refType="w" fact="0.2254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r" for="ch" forName="Child4" refType="w" fact="0.2254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r" for="ch" forName="Accent3" refType="w" fact="0.523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r" for="ch" forName="ParentBackground3" refType="w" fact="0.4664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r" for="ch" forName="Child3" refType="w" fact="0.4664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r" for="ch" forName="Accent2" refType="w" fact="0.763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r" for="ch" forName="ParentBackground2" refType="w" fact="0.7074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r" for="ch" forName="Child2" refType="w" fact="0.7074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r" for="ch" forName="Accent1" refType="w" fact="1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r" for="ch" forName="ParentBackground1" refType="w" fact="0.9484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r" for="ch" forName="Child1" refType="w" fact="0.9484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21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Parent5" refType="w" fact="0.1566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r" for="ch" forName="Parent4" refType="w" fact="0.3508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r" for="ch" forName="Parent3" refType="w" fact="0.54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r" for="ch" forName="Parent2" refType="w" fact="0.7391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r" for="ch" forName="Parent1" refType="w" fact="0.9333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r" for="ch" forName="Accent5" refType="w" fact="0.1879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r" for="ch" forName="ParentBackground5" refType="w" fact="0.1817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r" for="ch" forName="Child5" refType="w" fact="0.1817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r" for="ch" forName="Accent4" refType="w" fact="0.4211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r" for="ch" forName="ParentBackground4" refType="w" fact="0.3758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r" for="ch" forName="Child4" refType="w" fact="0.3758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r" for="ch" forName="Accent3" refType="w" fact="0.6152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r" for="ch" forName="ParentBackground3" refType="w" fact="0.57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r" for="ch" forName="Child3" refType="w" fact="0.57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r" for="ch" forName="Accent2" refType="w" fact="0.8094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r" for="ch" forName="ParentBackground2" refType="w" fact="0.7642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r" for="ch" forName="Child2" refType="w" fact="0.7642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r" for="ch" forName="Accent1" refType="w" fact="1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r" for="ch" forName="ParentBackground1" refType="w" fact="0.9584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r" for="ch" forName="Child1" refType="w" fact="0.9584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22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r" for="ch" forName="Parent6" refType="w" fact="0.1311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r" for="ch" forName="Parent5" refType="w" fact="0.2937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r" for="ch" forName="Parent4" refType="w" fact="0.4563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r" for="ch" forName="Parent3" refType="w" fact="0.619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r" for="ch" forName="Parent2" refType="w" fact="0.7816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r" for="ch" forName="Parent1" refType="w" fact="0.9442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r" for="ch" forName="Accent6" refType="w" fact="0.1574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r" for="ch" forName="ParentBackground6" refType="w" fact="0.1521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r" for="ch" forName="Child6" refType="w" fact="0.1521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r" for="ch" forName="Accent5" refType="w" fact="0.3526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r" for="ch" forName="ParentBackground5" refType="w" fact="0.3147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r" for="ch" forName="Child5" refType="w" fact="0.3147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r" for="ch" forName="Accent4" refType="w" fact="0.5152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r" for="ch" forName="ParentBackground4" refType="w" fact="0.4773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r" for="ch" forName="Child4" refType="w" fact="0.4773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r" for="ch" forName="Accent3" refType="w" fact="0.6778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r" for="ch" forName="ParentBackground3" refType="w" fact="0.6399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r" for="ch" forName="Child3" refType="w" fact="0.6399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r" for="ch" forName="Accent2" refType="w" fact="0.8404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r" for="ch" forName="ParentBackground2" refType="w" fact="0.802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r" for="ch" forName="Child2" refType="w" fact="0.802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r" for="ch" forName="Accent1" refType="w" fact="1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r" for="ch" forName="ParentBackground1" refType="w" fact="0.9652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r" for="ch" forName="Child1" refType="w" fact="0.9652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23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r" for="ch" forName="Parent7" refType="w" fact="0.1128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r" for="ch" forName="Parent6" refType="w" fact="0.2527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r" for="ch" forName="Parent5" refType="w" fact="0.392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r" for="ch" forName="Parent4" refType="w" fact="0.5324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r" for="ch" forName="Parent3" refType="w" fact="0.6723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r" for="ch" forName="Parent2" refType="w" fact="0.8121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r" for="ch" forName="Parent1" refType="w" fact="0.952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r" for="ch" forName="Accent7" refType="w" fact="0.1354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r" for="ch" forName="ParentBackground7" refType="w" fact="0.1308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r" for="ch" forName="Child7" refType="w" fact="0.1308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r" for="ch" forName="Accent6" refType="w" fact="0.3033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r" for="ch" forName="ParentBackground6" refType="w" fact="0.2707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r" for="ch" forName="Child6" refType="w" fact="0.2707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r" for="ch" forName="Accent5" refType="w" fact="0.4431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r" for="ch" forName="ParentBackground5" refType="w" fact="0.4106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r" for="ch" forName="Child5" refType="w" fact="0.4106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r" for="ch" forName="Accent4" refType="w" fact="0.583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r" for="ch" forName="ParentBackground4" refType="w" fact="0.5504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r" for="ch" forName="Child4" refType="w" fact="0.5504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r" for="ch" forName="Accent3" refType="w" fact="0.7229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r" for="ch" forName="ParentBackground3" refType="w" fact="0.6903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r" for="ch" forName="Child3" refType="w" fact="0.6903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r" for="ch" forName="Accent2" refType="w" fact="0.8627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r" for="ch" forName="ParentBackground2" refType="w" fact="0.8302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r" for="ch" forName="Child2" refType="w" fact="0.8302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r" for="ch" forName="Accent1" refType="w" fact="1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r" for="ch" forName="ParentBackground1" refType="w" fact="0.97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r" for="ch" forName="Child1" refType="w" fact="0.97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24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r" for="ch" forName="Parent8" refType="w" fact="0.099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r" for="ch" forName="Parent7" refType="w" fact="0.2217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r" for="ch" forName="Parent6" refType="w" fact="0.3444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r" for="ch" forName="Parent5" refType="w" fact="0.4671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r" for="ch" forName="Parent4" refType="w" fact="0.5898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r" for="ch" forName="Parent3" refType="w" fact="0.712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r" for="ch" forName="Parent2" refType="w" fact="0.8352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r" for="ch" forName="Parent1" refType="w" fact="0.9579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r" for="ch" forName="Accent8" refType="w" fact="0.1187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r" for="ch" forName="ParentBackground8" refType="w" fact="0.1148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r" for="ch" forName="Child8" refType="w" fact="0.1148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r" for="ch" forName="Accent7" refType="w" fact="0.2661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r" for="ch" forName="ParentBackground7" refType="w" fact="0.237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r" for="ch" forName="Child7" refType="w" fact="0.237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r" for="ch" forName="Accent6" refType="w" fact="0.3888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r" for="ch" forName="ParentBackground6" refType="w" fact="0.3602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r" for="ch" forName="Child6" refType="w" fact="0.3602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r" for="ch" forName="Accent5" refType="w" fact="0.511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r" for="ch" forName="ParentBackground5" refType="w" fact="0.4829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r" for="ch" forName="Child5" refType="w" fact="0.4829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r" for="ch" forName="Accent4" refType="w" fact="0.6342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r" for="ch" forName="ParentBackground4" refType="w" fact="0.6056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r" for="ch" forName="Child4" refType="w" fact="0.6056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r" for="ch" forName="Accent3" refType="w" fact="0.7569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r" for="ch" forName="ParentBackground3" refType="w" fact="0.7283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r" for="ch" forName="Child3" refType="w" fact="0.7283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r" for="ch" forName="Accent2" refType="w" fact="0.8796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r" for="ch" forName="ParentBackground2" refType="w" fact="0.851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r" for="ch" forName="Child2" refType="w" fact="0.851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r" for="ch" forName="Accent1" refType="w" fact="1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r" for="ch" forName="ParentBackground1" refType="w" fact="0.9737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r" for="ch" forName="Child1" refType="w" fact="0.9737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25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r" for="ch" forName="Parent9" refType="w" fact="0.0881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r" for="ch" forName="Parent8" refType="w" fact="0.1974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r" for="ch" forName="Parent7" refType="w" fact="0.3067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r" for="ch" forName="Parent6" refType="w" fact="0.416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r" for="ch" forName="Parent5" refType="w" fact="0.5253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r" for="ch" forName="Parent4" refType="w" fact="0.6346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r" for="ch" forName="Parent3" refType="w" fact="0.7439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r" for="ch" forName="Parent2" refType="w" fact="0.8532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r" for="ch" forName="Parent1" refType="w" fact="0.962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r" for="ch" forName="Accent9" refType="w" fact="0.1058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r" for="ch" forName="ParentBackground9" refType="w" fact="0.1022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r" for="ch" forName="Child9" refType="w" fact="0.1022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r" for="ch" forName="Accent8" refType="w" fact="0.237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r" for="ch" forName="ParentBackground8" refType="w" fact="0.211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r" for="ch" forName="Child8" refType="w" fact="0.211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r" for="ch" forName="Accent7" refType="w" fact="0.3462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r" for="ch" forName="ParentBackground7" refType="w" fact="0.3208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r" for="ch" forName="Child7" refType="w" fact="0.3208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r" for="ch" forName="Accent6" refType="w" fact="0.455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r" for="ch" forName="ParentBackground6" refType="w" fact="0.4301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r" for="ch" forName="Child6" refType="w" fact="0.4301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r" for="ch" forName="Accent5" refType="w" fact="0.5648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r" for="ch" forName="ParentBackground5" refType="w" fact="0.5394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r" for="ch" forName="Child5" refType="w" fact="0.5394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r" for="ch" forName="Accent4" refType="w" fact="0.6741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r" for="ch" forName="ParentBackground4" refType="w" fact="0.6487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r" for="ch" forName="Child4" refType="w" fact="0.6487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r" for="ch" forName="Accent3" refType="w" fact="0.7834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r" for="ch" forName="ParentBackground3" refType="w" fact="0.758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r" for="ch" forName="Child3" refType="w" fact="0.758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r" for="ch" forName="Accent2" refType="w" fact="0.8927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r" for="ch" forName="ParentBackground2" refType="w" fact="0.8673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r" for="ch" forName="Child2" refType="w" fact="0.8673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r" for="ch" forName="Accent1" refType="w" fact="1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r" for="ch" forName="ParentBackground1" refType="w" fact="0.9765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r" for="ch" forName="Child1" refType="w" fact="0.9765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26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r" for="ch" forName="Parent10" refType="w" fact="0.079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r" for="ch" forName="Parent9" refType="w" fact="0.178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r" for="ch" forName="Parent8" refType="w" fact="0.276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r" for="ch" forName="Parent7" refType="w" fact="0.37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r" for="ch" forName="Parent6" refType="w" fact="0.4736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r" for="ch" forName="Parent5" refType="w" fact="0.5721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r" for="ch" forName="Parent4" refType="w" fact="0.6706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r" for="ch" forName="Parent3" refType="w" fact="0.7691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r" for="ch" forName="Parent2" refType="w" fact="0.8676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r" for="ch" forName="Parent1" refType="w" fact="0.9662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r" for="ch" forName="Accent10" refType="w" fact="0.0953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r" for="ch" forName="ParentBackground10" refType="w" fact="0.0922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r" for="ch" forName="Child10" refType="w" fact="0.0922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r" for="ch" forName="Accent9" refType="w" fact="0.2136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r" for="ch" forName="ParentBackground9" refType="w" fact="0.1907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r" for="ch" forName="Child9" refType="w" fact="0.1907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r" for="ch" forName="Accent8" refType="w" fact="0.3121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r" for="ch" forName="ParentBackground8" refType="w" fact="0.2892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r" for="ch" forName="Child8" refType="w" fact="0.2892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r" for="ch" forName="Accent7" refType="w" fact="0.4107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r" for="ch" forName="ParentBackground7" refType="w" fact="0.3877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r" for="ch" forName="Child7" refType="w" fact="0.3877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r" for="ch" forName="Accent6" refType="w" fact="0.5092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r" for="ch" forName="ParentBackground6" refType="w" fact="0.4863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r" for="ch" forName="Child6" refType="w" fact="0.4863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r" for="ch" forName="Accent5" refType="w" fact="0.6077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r" for="ch" forName="ParentBackground5" refType="w" fact="0.5848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r" for="ch" forName="Child5" refType="w" fact="0.5848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r" for="ch" forName="Accent4" refType="w" fact="0.7062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r" for="ch" forName="ParentBackground4" refType="w" fact="0.6833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r" for="ch" forName="Child4" refType="w" fact="0.6833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r" for="ch" forName="Accent3" refType="w" fact="0.8048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r" for="ch" forName="ParentBackground3" refType="w" fact="0.7818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r" for="ch" forName="Child3" refType="w" fact="0.7818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r" for="ch" forName="Accent2" refType="w" fact="0.9033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r" for="ch" forName="ParentBackground2" refType="w" fact="0.8804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r" for="ch" forName="Child2" refType="w" fact="0.8804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r" for="ch" forName="Accent1" refType="w" fact="1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r" for="ch" forName="ParentBackground1" refType="w" fact="0.9789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r" for="ch" forName="Child1" refType="w" fact="0.9789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27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r" for="ch" forName="Parent11" refType="w" fact="0.0723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r" for="ch" forName="Parent10" refType="w" fact="0.162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r" for="ch" forName="Parent9" refType="w" fact="0.2517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r" for="ch" forName="Parent8" refType="w" fact="0.3414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r" for="ch" forName="Parent7" refType="w" fact="0.4311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r" for="ch" forName="Parent6" refType="w" fact="0.5208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r" for="ch" forName="Parent5" refType="w" fact="0.610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r" for="ch" forName="Parent4" refType="w" fact="0.7001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r" for="ch" forName="Parent3" refType="w" fact="0.7898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r" for="ch" forName="Parent2" refType="w" fact="0.879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r" for="ch" forName="Parent1" refType="w" fact="0.9692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r" for="ch" forName="Accent11" refType="w" fact="0.0868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r" for="ch" forName="ParentBackground11" refType="w" fact="0.0839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r" for="ch" forName="Child11" refType="w" fact="0.0839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r" for="ch" forName="Accent10" refType="w" fact="0.194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r" for="ch" forName="ParentBackground10" refType="w" fact="0.1736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r" for="ch" forName="Child10" refType="w" fact="0.1736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r" for="ch" forName="Accent9" refType="w" fact="0.2842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r" for="ch" forName="ParentBackground9" refType="w" fact="0.2633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r" for="ch" forName="Child9" refType="w" fact="0.2633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r" for="ch" forName="Accent8" refType="w" fact="0.3739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r" for="ch" forName="ParentBackground8" refType="w" fact="0.353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r" for="ch" forName="Child8" refType="w" fact="0.353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r" for="ch" forName="Accent7" refType="w" fact="0.4636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r" for="ch" forName="ParentBackground7" refType="w" fact="0.4427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r" for="ch" forName="Child7" refType="w" fact="0.4427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r" for="ch" forName="Accent6" refType="w" fact="0.5533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r" for="ch" forName="ParentBackground6" refType="w" fact="0.5323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r" for="ch" forName="Child6" refType="w" fact="0.5323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r" for="ch" forName="Accent5" refType="w" fact="0.6429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r" for="ch" forName="ParentBackground5" refType="w" fact="0.622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r" for="ch" forName="Child5" refType="w" fact="0.622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r" for="ch" forName="Accent4" refType="w" fact="0.7326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r" for="ch" forName="ParentBackground4" refType="w" fact="0.7117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r" for="ch" forName="Child4" refType="w" fact="0.7117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r" for="ch" forName="Accent3" refType="w" fact="0.8223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r" for="ch" forName="ParentBackground3" refType="w" fact="0.8014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r" for="ch" forName="Child3" refType="w" fact="0.8014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r" for="ch" forName="Accent2" refType="w" fact="0.912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r" for="ch" forName="ParentBackground2" refType="w" fact="0.8911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r" for="ch" forName="Child2" refType="w" fact="0.8911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r" for="ch" forName="Accent1" refType="w" fact="1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r" for="ch" forName="ParentBackground1" refType="w" fact="0.9808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r" for="ch" forName="Child1" refType="w" fact="0.9808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8">
            <dgm:if name="Name29" axis="followSib" ptType="node" func="cnt" op="equ" val="0">
              <dgm:shape xmlns:r="http://schemas.openxmlformats.org/officeDocument/2006/relationships" type="ellipse" r:blip="">
                <dgm:adjLst/>
              </dgm:shape>
            </dgm:if>
            <dgm:else name="Name30">
              <dgm:choose name="Name31">
                <dgm:if name="Name32" axis="precedSib" ptType="node" func="cnt" op="equ" val="10">
                  <dgm:shape xmlns:r="http://schemas.openxmlformats.org/officeDocument/2006/relationships" type="ellipse" r:blip="">
                    <dgm:adjLst/>
                  </dgm:shape>
                </dgm:if>
                <dgm:else name="Name33">
                  <dgm:choose name="Name34">
                    <dgm:if name="Name35" func="var" arg="dir" op="equ" val="norm">
                      <dgm:shape xmlns:r="http://schemas.openxmlformats.org/officeDocument/2006/relationships" rot="45" type="teardrop" r:blip="">
                        <dgm:adjLst>
                          <dgm:adj idx="1" val="1"/>
                        </dgm:adjLst>
                      </dgm:shape>
                    </dgm:if>
                    <dgm:else name="Name36">
                      <dgm:shape xmlns:r="http://schemas.openxmlformats.org/officeDocument/2006/relationships" rot="225" type="teardrop" r:blip="">
                        <dgm:adjLst>
                          <dgm:adj idx="1" val="1"/>
                        </dgm:adjLst>
                      </dgm:shape>
                    </dgm:else>
                  </dgm:choose>
                </dgm:else>
              </dgm:choose>
            </dgm:else>
          </dgm:choose>
          <dgm:presOf/>
        </dgm:layoutNode>
      </dgm:forEach>
      <dgm:forEach name="parentBackgroundRepeat" axis="self">
        <dgm:layoutNode name="ParentBackground" styleLbl="fgAcc1">
          <dgm:alg type="sp"/>
          <dgm:shape xmlns:r="http://schemas.openxmlformats.org/officeDocument/2006/relationships" type="ellipse" r:blip="">
            <dgm:adjLst/>
          </dgm:shape>
          <dgm:presOf axis="self" ptType="node"/>
        </dgm:layoutNode>
      </dgm:forEach>
    </dgm:forEach>
    <dgm:forEach name="Name37" axis="ch" ptType="node" st="11" cnt="1"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38" ref="accentRepeat"/>
      </dgm:layoutNode>
      <dgm:layoutNode name="ParentBackground11">
        <dgm:alg type="sp"/>
        <dgm:shape xmlns:r="http://schemas.openxmlformats.org/officeDocument/2006/relationships" r:blip="">
          <dgm:adjLst/>
        </dgm:shape>
        <dgm:presOf/>
        <dgm:forEach name="Name39" ref="parentBackgroundRepeat"/>
      </dgm:layoutNode>
      <dgm:choose name="Name40">
        <dgm:if name="Name41" axis="ch" ptType="node" func="cnt" op="gte" val="1">
          <dgm:layoutNode name="Child1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2"/>
      </dgm:choose>
      <dgm:layoutNode name="Parent1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3" axis="ch" ptType="node" st="10" cnt="1"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44" ref="accentRepeat"/>
      </dgm:layoutNode>
      <dgm:layoutNode name="ParentBackground10">
        <dgm:alg type="sp"/>
        <dgm:shape xmlns:r="http://schemas.openxmlformats.org/officeDocument/2006/relationships" r:blip="">
          <dgm:adjLst/>
        </dgm:shape>
        <dgm:presOf/>
        <dgm:forEach name="Name45" ref="parentBackgroundRepeat"/>
      </dgm:layoutNode>
      <dgm:choose name="Name46">
        <dgm:if name="Name47" axis="ch" ptType="node" func="cnt" op="gte" val="1">
          <dgm:layoutNode name="Child10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8"/>
      </dgm:choose>
      <dgm:layoutNode name="Parent10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9" axis="ch" ptType="node" st="9" cnt="1"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ParentBackground9">
        <dgm:alg type="sp"/>
        <dgm:shape xmlns:r="http://schemas.openxmlformats.org/officeDocument/2006/relationships" r:blip="">
          <dgm:adjLst/>
        </dgm:shape>
        <dgm:presOf/>
        <dgm:forEach name="Name51" ref="parentBackgroundRepeat"/>
      </dgm:layoutNode>
      <dgm:choose name="Name52">
        <dgm:if name="Name53" axis="ch" ptType="node" func="cnt" op="gte" val="1">
          <dgm:layoutNode name="Child9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4"/>
      </dgm:choose>
      <dgm:layoutNode name="Parent9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55" axis="ch" ptType="node" st="8" cnt="1"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56" ref="accentRepeat"/>
      </dgm:layoutNode>
      <dgm:layoutNode name="ParentBackground8">
        <dgm:alg type="sp"/>
        <dgm:shape xmlns:r="http://schemas.openxmlformats.org/officeDocument/2006/relationships" r:blip="">
          <dgm:adjLst/>
        </dgm:shape>
        <dgm:presOf/>
        <dgm:forEach name="Name57" ref="parentBackgroundRepeat"/>
      </dgm:layoutNode>
      <dgm:choose name="Name58">
        <dgm:if name="Name59" axis="ch" ptType="node" func="cnt" op="gte" val="1">
          <dgm:layoutNode name="Child8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0"/>
      </dgm:choose>
      <dgm:layoutNode name="Parent8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1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62" ref="accentRepeat"/>
      </dgm:layoutNode>
      <dgm:layoutNode name="ParentBackground7">
        <dgm:alg type="sp"/>
        <dgm:shape xmlns:r="http://schemas.openxmlformats.org/officeDocument/2006/relationships" r:blip="">
          <dgm:adjLst/>
        </dgm:shape>
        <dgm:presOf/>
        <dgm:forEach name="Name63" ref="parentBackgroundRepeat"/>
      </dgm:layoutNode>
      <dgm:choose name="Name64">
        <dgm:if name="Name65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6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68" ref="accentRepeat"/>
      </dgm:layoutNode>
      <dgm:layoutNode name="ParentBackground6">
        <dgm:alg type="sp"/>
        <dgm:shape xmlns:r="http://schemas.openxmlformats.org/officeDocument/2006/relationships" r:blip="">
          <dgm:adjLst/>
        </dgm:shape>
        <dgm:presOf/>
        <dgm:forEach name="Name69" ref="parentBackgroundRepeat"/>
      </dgm:layoutNode>
      <dgm:choose name="Name70">
        <dgm:if name="Name71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3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74" ref="accentRepeat"/>
      </dgm:layoutNode>
      <dgm:layoutNode name="ParentBackground5">
        <dgm:alg type="sp"/>
        <dgm:shape xmlns:r="http://schemas.openxmlformats.org/officeDocument/2006/relationships" r:blip="">
          <dgm:adjLst/>
        </dgm:shape>
        <dgm:presOf/>
        <dgm:forEach name="Name75" ref="parentBackgroundRepeat"/>
      </dgm:layoutNode>
      <dgm:choose name="Name76">
        <dgm:if name="Name77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8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9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80" ref="accentRepeat"/>
      </dgm:layoutNode>
      <dgm:layoutNode name="ParentBackground4">
        <dgm:alg type="sp"/>
        <dgm:shape xmlns:r="http://schemas.openxmlformats.org/officeDocument/2006/relationships" r:blip="">
          <dgm:adjLst/>
        </dgm:shape>
        <dgm:presOf/>
        <dgm:forEach name="Name81" ref="parentBackgroundRepeat"/>
      </dgm:layoutNode>
      <dgm:choose name="Name82">
        <dgm:if name="Name8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layoutNode name="ParentBackground3">
        <dgm:alg type="sp"/>
        <dgm:shape xmlns:r="http://schemas.openxmlformats.org/officeDocument/2006/relationships" r:blip="">
          <dgm:adjLst/>
        </dgm:shape>
        <dgm:presOf/>
        <dgm:forEach name="Name87" ref="parentBackgroundRepeat"/>
      </dgm:layoutNode>
      <dgm:choose name="Name88">
        <dgm:if name="Name89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0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1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92" ref="accentRepeat"/>
      </dgm:layoutNode>
      <dgm:layoutNode name="ParentBackground2" styleLbl="fgAcc1">
        <dgm:alg type="sp"/>
        <dgm:shape xmlns:r="http://schemas.openxmlformats.org/officeDocument/2006/relationships" r:blip="">
          <dgm:adjLst/>
        </dgm:shape>
        <dgm:presOf/>
        <dgm:forEach name="Name93" ref="parentBackgroundRepeat"/>
      </dgm:layoutNode>
      <dgm:choose name="Name94">
        <dgm:if name="Name95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6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7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98" ref="accentRepeat"/>
      </dgm:layoutNode>
      <dgm:layoutNode name="ParentBackground1">
        <dgm:alg type="sp"/>
        <dgm:shape xmlns:r="http://schemas.openxmlformats.org/officeDocument/2006/relationships" r:blip="">
          <dgm:adjLst/>
        </dgm:shape>
        <dgm:presOf/>
        <dgm:forEach name="Name99" ref="parentBackgroundRepeat"/>
      </dgm:layoutNode>
      <dgm:choose name="Name100">
        <dgm:if name="Name101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102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11/layout/CircleProcess">
  <dgm:title val="Circle Process"/>
  <dgm:desc val="Use to show sequential steps in a process. Limited to eleven Level 1 shapes with an unlimited number of Level 2 shapes. Works best with small amounts of text. Unused text does not appear, but remains available if you switch layouts."/>
  <dgm:catLst>
    <dgm:cat type="process" pri="8500"/>
    <dgm:cat type="officeonline" pri="85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11"/>
      <dgm:chPref val="1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5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Parent2" refType="w" fact="0.6249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l" for="ch" forName="Parent1" refType="w" fact="0.1597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l" for="ch" forName="Accent2" refType="w" fact="0.5498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l" for="ch" forName="ParentBackground2" refType="w" fact="0.5648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l" for="ch" forName="Child2" refType="w" fact="0.5648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l" for="ch" forName="Accent1" refType="w" fact="-0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l" for="ch" forName="ParentBackground1" refType="w" fact="0.0997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l" for="ch" forName="Child1" refType="w" fact="0.0997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6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Parent3" refType="w" fact="0.744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l" for="ch" forName="Parent2" refType="w" fact="0.426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l" for="ch" forName="Parent1" refType="w" fact="0.109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l" for="ch" forName="Accent3" refType="w" fact="0.6928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l" for="ch" forName="ParentBackground3" refType="w" fact="0.703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l" for="ch" forName="Child3" refType="w" fact="0.703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l" for="ch" forName="Accent2" refType="w" fact="0.3122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l" for="ch" forName="ParentBackground2" refType="w" fact="0.385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l" for="ch" forName="Child2" refType="w" fact="0.385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l" for="ch" forName="Accent1" refType="w" fact="-0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l" for="ch" forName="ParentBackground1" refType="w" fact="0.068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l" for="ch" forName="Child1" refType="w" fact="0.068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7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Parent4" refType="w" fact="0.8057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l" for="ch" forName="Parent3" refType="w" fact="0.5647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l" for="ch" forName="Parent2" refType="w" fact="0.3237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l" for="ch" forName="Parent1" refType="w" fact="0.0827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l" for="ch" forName="Accent4" refType="w" fact="0.7668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l" for="ch" forName="ParentBackground4" refType="w" fact="0.7746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l" for="ch" forName="Child4" refType="w" fact="0.7746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l" for="ch" forName="Accent3" refType="w" fact="0.476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l" for="ch" forName="ParentBackground3" refType="w" fact="0.5336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l" for="ch" forName="Child3" refType="w" fact="0.5336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l" for="ch" forName="Accent2" refType="w" fact="0.236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l" for="ch" forName="ParentBackground2" refType="w" fact="0.2926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l" for="ch" forName="Child2" refType="w" fact="0.2926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l" for="ch" forName="Accent1" refType="w" fact="-0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l" for="ch" forName="ParentBackground1" refType="w" fact="0.0516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l" for="ch" forName="Child1" refType="w" fact="0.0516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8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Parent5" refType="w" fact="0.8434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l" for="ch" forName="Parent4" refType="w" fact="0.6492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l" for="ch" forName="Parent3" refType="w" fact="0.45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l" for="ch" forName="Parent2" refType="w" fact="0.2609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l" for="ch" forName="Parent1" refType="w" fact="0.0667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l" for="ch" forName="Accent5" refType="w" fact="0.8121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l" for="ch" forName="ParentBackground5" refType="w" fact="0.8183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l" for="ch" forName="Child5" refType="w" fact="0.8183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l" for="ch" forName="Accent4" refType="w" fact="0.5789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l" for="ch" forName="ParentBackground4" refType="w" fact="0.6242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l" for="ch" forName="Child4" refType="w" fact="0.6242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l" for="ch" forName="Accent3" refType="w" fact="0.3848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l" for="ch" forName="ParentBackground3" refType="w" fact="0.43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l" for="ch" forName="Child3" refType="w" fact="0.43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l" for="ch" forName="Accent2" refType="w" fact="0.1906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l" for="ch" forName="ParentBackground2" refType="w" fact="0.2358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l" for="ch" forName="Child2" refType="w" fact="0.2358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l" for="ch" forName="Accent1" refType="w" fact="-0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l" for="ch" forName="ParentBackground1" refType="w" fact="0.0416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l" for="ch" forName="Child1" refType="w" fact="0.0416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9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Parent6" refType="w" fact="0.8689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l" for="ch" forName="Parent5" refType="w" fact="0.7063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l" for="ch" forName="Parent4" refType="w" fact="0.5437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l" for="ch" forName="Parent3" refType="w" fact="0.381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l" for="ch" forName="Parent2" refType="w" fact="0.2184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l" for="ch" forName="Parent1" refType="w" fact="0.0558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l" for="ch" forName="Accent6" refType="w" fact="0.8426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l" for="ch" forName="ParentBackground6" refType="w" fact="0.8479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l" for="ch" forName="Child6" refType="w" fact="0.8479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l" for="ch" forName="Accent5" refType="w" fact="0.6474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l" for="ch" forName="ParentBackground5" refType="w" fact="0.6853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l" for="ch" forName="Child5" refType="w" fact="0.6853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l" for="ch" forName="Accent4" refType="w" fact="0.4848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l" for="ch" forName="ParentBackground4" refType="w" fact="0.5227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l" for="ch" forName="Child4" refType="w" fact="0.5227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l" for="ch" forName="Accent3" refType="w" fact="0.3222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l" for="ch" forName="ParentBackground3" refType="w" fact="0.3601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l" for="ch" forName="Child3" refType="w" fact="0.3601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l" for="ch" forName="Accent2" refType="w" fact="0.1596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l" for="ch" forName="ParentBackground2" refType="w" fact="0.197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l" for="ch" forName="Child2" refType="w" fact="0.197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l" for="ch" forName="Accent1" refType="w" fact="-0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l" for="ch" forName="ParentBackground1" refType="w" fact="0.0348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l" for="ch" forName="Child1" refType="w" fact="0.0348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10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Parent7" refType="w" fact="0.8872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l" for="ch" forName="Parent6" refType="w" fact="0.7473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l" for="ch" forName="Parent5" refType="w" fact="0.607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l" for="ch" forName="Parent4" refType="w" fact="0.4676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l" for="ch" forName="Parent3" refType="w" fact="0.3277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l" for="ch" forName="Parent2" refType="w" fact="0.1879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l" for="ch" forName="Parent1" refType="w" fact="0.048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l" for="ch" forName="Accent7" refType="w" fact="0.8646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l" for="ch" forName="ParentBackground7" refType="w" fact="0.8692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l" for="ch" forName="Child7" refType="w" fact="0.8692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l" for="ch" forName="Accent6" refType="w" fact="0.6967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l" for="ch" forName="ParentBackground6" refType="w" fact="0.7293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l" for="ch" forName="Child6" refType="w" fact="0.7293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l" for="ch" forName="Accent5" refType="w" fact="0.5569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l" for="ch" forName="ParentBackground5" refType="w" fact="0.5894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l" for="ch" forName="Child5" refType="w" fact="0.5894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l" for="ch" forName="Accent4" refType="w" fact="0.417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l" for="ch" forName="ParentBackground4" refType="w" fact="0.4496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l" for="ch" forName="Child4" refType="w" fact="0.4496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l" for="ch" forName="Accent3" refType="w" fact="0.2771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l" for="ch" forName="ParentBackground3" refType="w" fact="0.3097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l" for="ch" forName="Child3" refType="w" fact="0.3097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l" for="ch" forName="Accent2" refType="w" fact="0.1373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l" for="ch" forName="ParentBackground2" refType="w" fact="0.1698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l" for="ch" forName="Child2" refType="w" fact="0.1698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l" for="ch" forName="Accent1" refType="w" fact="-0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l" for="ch" forName="ParentBackground1" refType="w" fact="0.03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l" for="ch" forName="Child1" refType="w" fact="0.03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11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l" for="ch" forName="Parent8" refType="w" fact="0.901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l" for="ch" forName="Parent7" refType="w" fact="0.7783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l" for="ch" forName="Parent6" refType="w" fact="0.6556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l" for="ch" forName="Parent5" refType="w" fact="0.5329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l" for="ch" forName="Parent4" refType="w" fact="0.4102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l" for="ch" forName="Parent3" refType="w" fact="0.287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l" for="ch" forName="Parent2" refType="w" fact="0.1648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l" for="ch" forName="Parent1" refType="w" fact="0.0421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l" for="ch" forName="Accent8" refType="w" fact="0.8813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l" for="ch" forName="ParentBackground8" refType="w" fact="0.8852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l" for="ch" forName="Child8" refType="w" fact="0.8852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l" for="ch" forName="Accent7" refType="w" fact="0.7339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l" for="ch" forName="ParentBackground7" refType="w" fact="0.762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l" for="ch" forName="Child7" refType="w" fact="0.762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l" for="ch" forName="Accent6" refType="w" fact="0.6112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l" for="ch" forName="ParentBackground6" refType="w" fact="0.6398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l" for="ch" forName="Child6" refType="w" fact="0.6398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l" for="ch" forName="Accent5" refType="w" fact="0.488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l" for="ch" forName="ParentBackground5" refType="w" fact="0.5171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l" for="ch" forName="Child5" refType="w" fact="0.5171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l" for="ch" forName="Accent4" refType="w" fact="0.3658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l" for="ch" forName="ParentBackground4" refType="w" fact="0.3944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l" for="ch" forName="Child4" refType="w" fact="0.3944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l" for="ch" forName="Accent3" refType="w" fact="0.2431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l" for="ch" forName="ParentBackground3" refType="w" fact="0.2717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l" for="ch" forName="Child3" refType="w" fact="0.2717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l" for="ch" forName="Accent2" refType="w" fact="0.1204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l" for="ch" forName="ParentBackground2" refType="w" fact="0.149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l" for="ch" forName="Child2" refType="w" fact="0.149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l" for="ch" forName="Accent1" refType="w" fact="-0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l" for="ch" forName="ParentBackground1" refType="w" fact="0.0263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l" for="ch" forName="Child1" refType="w" fact="0.0263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12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l" for="ch" forName="Parent9" refType="w" fact="0.9119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l" for="ch" forName="Parent8" refType="w" fact="0.8026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l" for="ch" forName="Parent7" refType="w" fact="0.6933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l" for="ch" forName="Parent6" refType="w" fact="0.584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l" for="ch" forName="Parent5" refType="w" fact="0.4747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l" for="ch" forName="Parent4" refType="w" fact="0.3654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l" for="ch" forName="Parent3" refType="w" fact="0.2561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l" for="ch" forName="Parent2" refType="w" fact="0.1468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l" for="ch" forName="Parent1" refType="w" fact="0.037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l" for="ch" forName="Accent9" refType="w" fact="0.8942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l" for="ch" forName="ParentBackground9" refType="w" fact="0.8978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l" for="ch" forName="Child9" refType="w" fact="0.8978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l" for="ch" forName="Accent8" refType="w" fact="0.763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l" for="ch" forName="ParentBackground8" refType="w" fact="0.788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l" for="ch" forName="Child8" refType="w" fact="0.788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l" for="ch" forName="Accent7" refType="w" fact="0.6538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l" for="ch" forName="ParentBackground7" refType="w" fact="0.6792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l" for="ch" forName="Child7" refType="w" fact="0.6792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l" for="ch" forName="Accent6" refType="w" fact="0.544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l" for="ch" forName="ParentBackground6" refType="w" fact="0.5699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l" for="ch" forName="Child6" refType="w" fact="0.5699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l" for="ch" forName="Accent5" refType="w" fact="0.4352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l" for="ch" forName="ParentBackground5" refType="w" fact="0.4606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l" for="ch" forName="Child5" refType="w" fact="0.4606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l" for="ch" forName="Accent4" refType="w" fact="0.3259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l" for="ch" forName="ParentBackground4" refType="w" fact="0.3513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l" for="ch" forName="Child4" refType="w" fact="0.3513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l" for="ch" forName="Accent3" refType="w" fact="0.2166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l" for="ch" forName="ParentBackground3" refType="w" fact="0.242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l" for="ch" forName="Child3" refType="w" fact="0.242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l" for="ch" forName="Accent2" refType="w" fact="0.1073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l" for="ch" forName="ParentBackground2" refType="w" fact="0.1327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l" for="ch" forName="Child2" refType="w" fact="0.1327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l" for="ch" forName="Accent1" refType="w" fact="-0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l" for="ch" forName="ParentBackground1" refType="w" fact="0.0234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l" for="ch" forName="Child1" refType="w" fact="0.0234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13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l" for="ch" forName="Parent10" refType="w" fact="0.920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l" for="ch" forName="Parent9" refType="w" fact="0.822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l" for="ch" forName="Parent8" refType="w" fact="0.723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l" for="ch" forName="Parent7" refType="w" fact="0.62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l" for="ch" forName="Parent6" refType="w" fact="0.5264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l" for="ch" forName="Parent5" refType="w" fact="0.4279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l" for="ch" forName="Parent4" refType="w" fact="0.3294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l" for="ch" forName="Parent3" refType="w" fact="0.2309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l" for="ch" forName="Parent2" refType="w" fact="0.1324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l" for="ch" forName="Parent1" refType="w" fact="0.0338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l" for="ch" forName="Accent10" refType="w" fact="0.9047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l" for="ch" forName="ParentBackground10" refType="w" fact="0.9078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l" for="ch" forName="Child10" refType="w" fact="0.9078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l" for="ch" forName="Accent9" refType="w" fact="0.7864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l" for="ch" forName="ParentBackground9" refType="w" fact="0.8093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l" for="ch" forName="Child9" refType="w" fact="0.8093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l" for="ch" forName="Accent8" refType="w" fact="0.6879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l" for="ch" forName="ParentBackground8" refType="w" fact="0.7108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l" for="ch" forName="Child8" refType="w" fact="0.7108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l" for="ch" forName="Accent7" refType="w" fact="0.5893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l" for="ch" forName="ParentBackground7" refType="w" fact="0.6123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l" for="ch" forName="Child7" refType="w" fact="0.6123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l" for="ch" forName="Accent6" refType="w" fact="0.4908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l" for="ch" forName="ParentBackground6" refType="w" fact="0.5137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l" for="ch" forName="Child6" refType="w" fact="0.5137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l" for="ch" forName="Accent5" refType="w" fact="0.3923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l" for="ch" forName="ParentBackground5" refType="w" fact="0.4152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l" for="ch" forName="Child5" refType="w" fact="0.4152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l" for="ch" forName="Accent4" refType="w" fact="0.2938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l" for="ch" forName="ParentBackground4" refType="w" fact="0.3167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l" for="ch" forName="Child4" refType="w" fact="0.3167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l" for="ch" forName="Accent3" refType="w" fact="0.1952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l" for="ch" forName="ParentBackground3" refType="w" fact="0.2182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l" for="ch" forName="Child3" refType="w" fact="0.2182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l" for="ch" forName="Accent2" refType="w" fact="0.0967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l" for="ch" forName="ParentBackground2" refType="w" fact="0.1196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l" for="ch" forName="Child2" refType="w" fact="0.1196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l" for="ch" forName="Accent1" refType="w" fact="-0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l" for="ch" forName="ParentBackground1" refType="w" fact="0.0211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l" for="ch" forName="Child1" refType="w" fact="0.0211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14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l" for="ch" forName="Parent11" refType="w" fact="0.9277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l" for="ch" forName="Parent10" refType="w" fact="0.838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l" for="ch" forName="Parent9" refType="w" fact="0.7483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l" for="ch" forName="Parent8" refType="w" fact="0.6586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l" for="ch" forName="Parent7" refType="w" fact="0.5689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l" for="ch" forName="Parent6" refType="w" fact="0.4792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l" for="ch" forName="Parent5" refType="w" fact="0.389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l" for="ch" forName="Parent4" refType="w" fact="0.2999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l" for="ch" forName="Parent3" refType="w" fact="0.2102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l" for="ch" forName="Parent2" refType="w" fact="0.120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l" for="ch" forName="Parent1" refType="w" fact="0.0308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l" for="ch" forName="Accent11" refType="w" fact="0.9132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l" for="ch" forName="ParentBackground11" refType="w" fact="0.9161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l" for="ch" forName="Child11" refType="w" fact="0.9161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l" for="ch" forName="Accent10" refType="w" fact="0.805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l" for="ch" forName="ParentBackground10" refType="w" fact="0.8264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l" for="ch" forName="Child10" refType="w" fact="0.8264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l" for="ch" forName="Accent9" refType="w" fact="0.7158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l" for="ch" forName="ParentBackground9" refType="w" fact="0.7367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l" for="ch" forName="Child9" refType="w" fact="0.7367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l" for="ch" forName="Accent8" refType="w" fact="0.6261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l" for="ch" forName="ParentBackground8" refType="w" fact="0.647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l" for="ch" forName="Child8" refType="w" fact="0.647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l" for="ch" forName="Accent7" refType="w" fact="0.5364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l" for="ch" forName="ParentBackground7" refType="w" fact="0.5573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l" for="ch" forName="Child7" refType="w" fact="0.5573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l" for="ch" forName="Accent6" refType="w" fact="0.4467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l" for="ch" forName="ParentBackground6" refType="w" fact="0.4677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l" for="ch" forName="Child6" refType="w" fact="0.4677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l" for="ch" forName="Accent5" refType="w" fact="0.3571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l" for="ch" forName="ParentBackground5" refType="w" fact="0.378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l" for="ch" forName="Child5" refType="w" fact="0.378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l" for="ch" forName="Accent4" refType="w" fact="0.2674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l" for="ch" forName="ParentBackground4" refType="w" fact="0.2883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l" for="ch" forName="Child4" refType="w" fact="0.2883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l" for="ch" forName="Accent3" refType="w" fact="0.1777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l" for="ch" forName="ParentBackground3" refType="w" fact="0.1986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l" for="ch" forName="Child3" refType="w" fact="0.1986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l" for="ch" forName="Accent2" refType="w" fact="0.088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l" for="ch" forName="ParentBackground2" refType="w" fact="0.1089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l" for="ch" forName="Child2" refType="w" fact="0.1089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l" for="ch" forName="Accent1" refType="w" fact="-0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l" for="ch" forName="ParentBackground1" refType="w" fact="0.0192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l" for="ch" forName="Child1" refType="w" fact="0.0192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if>
      <dgm:else name="Name15">
        <dgm:choose name="Name16">
          <dgm:if name="Name17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18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r" for="ch" forName="Parent2" refType="w" fact="0.3751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r" for="ch" forName="Parent1" refType="w" fact="0.8403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r" for="ch" forName="Accent2" refType="w" fact="0.4502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r" for="ch" forName="ParentBackground2" refType="w" fact="0.4352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r" for="ch" forName="Child2" refType="w" fact="0.4352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r" for="ch" forName="Accent1" refType="w" fact="1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r" for="ch" forName="ParentBackground1" refType="w" fact="0.9003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r" for="ch" forName="Child1" refType="w" fact="0.9003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19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Parent3" refType="w" fact="0.256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r" for="ch" forName="Parent2" refType="w" fact="0.573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r" for="ch" forName="Parent1" refType="w" fact="0.891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r" for="ch" forName="Accent3" refType="w" fact="0.3072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r" for="ch" forName="ParentBackground3" refType="w" fact="0.297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r" for="ch" forName="Child3" refType="w" fact="0.297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r" for="ch" forName="Accent2" refType="w" fact="0.6878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r" for="ch" forName="ParentBackground2" refType="w" fact="0.614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r" for="ch" forName="Child2" refType="w" fact="0.614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r" for="ch" forName="Accent1" refType="w" fact="1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r" for="ch" forName="ParentBackground1" refType="w" fact="0.932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r" for="ch" forName="Child1" refType="w" fact="0.932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20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Parent4" refType="w" fact="0.1943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r" for="ch" forName="Parent3" refType="w" fact="0.4353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r" for="ch" forName="Parent2" refType="w" fact="0.6763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r" for="ch" forName="Parent1" refType="w" fact="0.9173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r" for="ch" forName="Accent4" refType="w" fact="0.2332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r" for="ch" forName="ParentBackground4" refType="w" fact="0.2254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r" for="ch" forName="Child4" refType="w" fact="0.2254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r" for="ch" forName="Accent3" refType="w" fact="0.523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r" for="ch" forName="ParentBackground3" refType="w" fact="0.4664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r" for="ch" forName="Child3" refType="w" fact="0.4664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r" for="ch" forName="Accent2" refType="w" fact="0.763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r" for="ch" forName="ParentBackground2" refType="w" fact="0.7074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r" for="ch" forName="Child2" refType="w" fact="0.7074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r" for="ch" forName="Accent1" refType="w" fact="1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r" for="ch" forName="ParentBackground1" refType="w" fact="0.9484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r" for="ch" forName="Child1" refType="w" fact="0.9484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21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Parent5" refType="w" fact="0.1566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r" for="ch" forName="Parent4" refType="w" fact="0.3508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r" for="ch" forName="Parent3" refType="w" fact="0.54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r" for="ch" forName="Parent2" refType="w" fact="0.7391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r" for="ch" forName="Parent1" refType="w" fact="0.9333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r" for="ch" forName="Accent5" refType="w" fact="0.1879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r" for="ch" forName="ParentBackground5" refType="w" fact="0.1817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r" for="ch" forName="Child5" refType="w" fact="0.1817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r" for="ch" forName="Accent4" refType="w" fact="0.4211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r" for="ch" forName="ParentBackground4" refType="w" fact="0.3758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r" for="ch" forName="Child4" refType="w" fact="0.3758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r" for="ch" forName="Accent3" refType="w" fact="0.6152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r" for="ch" forName="ParentBackground3" refType="w" fact="0.57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r" for="ch" forName="Child3" refType="w" fact="0.57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r" for="ch" forName="Accent2" refType="w" fact="0.8094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r" for="ch" forName="ParentBackground2" refType="w" fact="0.7642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r" for="ch" forName="Child2" refType="w" fact="0.7642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r" for="ch" forName="Accent1" refType="w" fact="1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r" for="ch" forName="ParentBackground1" refType="w" fact="0.9584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r" for="ch" forName="Child1" refType="w" fact="0.9584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22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r" for="ch" forName="Parent6" refType="w" fact="0.1311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r" for="ch" forName="Parent5" refType="w" fact="0.2937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r" for="ch" forName="Parent4" refType="w" fact="0.4563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r" for="ch" forName="Parent3" refType="w" fact="0.619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r" for="ch" forName="Parent2" refType="w" fact="0.7816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r" for="ch" forName="Parent1" refType="w" fact="0.9442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r" for="ch" forName="Accent6" refType="w" fact="0.1574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r" for="ch" forName="ParentBackground6" refType="w" fact="0.1521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r" for="ch" forName="Child6" refType="w" fact="0.1521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r" for="ch" forName="Accent5" refType="w" fact="0.3526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r" for="ch" forName="ParentBackground5" refType="w" fact="0.3147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r" for="ch" forName="Child5" refType="w" fact="0.3147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r" for="ch" forName="Accent4" refType="w" fact="0.5152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r" for="ch" forName="ParentBackground4" refType="w" fact="0.4773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r" for="ch" forName="Child4" refType="w" fact="0.4773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r" for="ch" forName="Accent3" refType="w" fact="0.6778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r" for="ch" forName="ParentBackground3" refType="w" fact="0.6399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r" for="ch" forName="Child3" refType="w" fact="0.6399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r" for="ch" forName="Accent2" refType="w" fact="0.8404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r" for="ch" forName="ParentBackground2" refType="w" fact="0.802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r" for="ch" forName="Child2" refType="w" fact="0.802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r" for="ch" forName="Accent1" refType="w" fact="1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r" for="ch" forName="ParentBackground1" refType="w" fact="0.9652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r" for="ch" forName="Child1" refType="w" fact="0.9652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23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r" for="ch" forName="Parent7" refType="w" fact="0.1128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r" for="ch" forName="Parent6" refType="w" fact="0.2527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r" for="ch" forName="Parent5" refType="w" fact="0.392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r" for="ch" forName="Parent4" refType="w" fact="0.5324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r" for="ch" forName="Parent3" refType="w" fact="0.6723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r" for="ch" forName="Parent2" refType="w" fact="0.8121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r" for="ch" forName="Parent1" refType="w" fact="0.952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r" for="ch" forName="Accent7" refType="w" fact="0.1354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r" for="ch" forName="ParentBackground7" refType="w" fact="0.1308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r" for="ch" forName="Child7" refType="w" fact="0.1308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r" for="ch" forName="Accent6" refType="w" fact="0.3033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r" for="ch" forName="ParentBackground6" refType="w" fact="0.2707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r" for="ch" forName="Child6" refType="w" fact="0.2707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r" for="ch" forName="Accent5" refType="w" fact="0.4431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r" for="ch" forName="ParentBackground5" refType="w" fact="0.4106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r" for="ch" forName="Child5" refType="w" fact="0.4106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r" for="ch" forName="Accent4" refType="w" fact="0.583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r" for="ch" forName="ParentBackground4" refType="w" fact="0.5504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r" for="ch" forName="Child4" refType="w" fact="0.5504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r" for="ch" forName="Accent3" refType="w" fact="0.7229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r" for="ch" forName="ParentBackground3" refType="w" fact="0.6903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r" for="ch" forName="Child3" refType="w" fact="0.6903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r" for="ch" forName="Accent2" refType="w" fact="0.8627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r" for="ch" forName="ParentBackground2" refType="w" fact="0.8302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r" for="ch" forName="Child2" refType="w" fact="0.8302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r" for="ch" forName="Accent1" refType="w" fact="1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r" for="ch" forName="ParentBackground1" refType="w" fact="0.97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r" for="ch" forName="Child1" refType="w" fact="0.97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24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r" for="ch" forName="Parent8" refType="w" fact="0.099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r" for="ch" forName="Parent7" refType="w" fact="0.2217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r" for="ch" forName="Parent6" refType="w" fact="0.3444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r" for="ch" forName="Parent5" refType="w" fact="0.4671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r" for="ch" forName="Parent4" refType="w" fact="0.5898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r" for="ch" forName="Parent3" refType="w" fact="0.712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r" for="ch" forName="Parent2" refType="w" fact="0.8352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r" for="ch" forName="Parent1" refType="w" fact="0.9579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r" for="ch" forName="Accent8" refType="w" fact="0.1187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r" for="ch" forName="ParentBackground8" refType="w" fact="0.1148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r" for="ch" forName="Child8" refType="w" fact="0.1148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r" for="ch" forName="Accent7" refType="w" fact="0.2661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r" for="ch" forName="ParentBackground7" refType="w" fact="0.237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r" for="ch" forName="Child7" refType="w" fact="0.237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r" for="ch" forName="Accent6" refType="w" fact="0.3888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r" for="ch" forName="ParentBackground6" refType="w" fact="0.3602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r" for="ch" forName="Child6" refType="w" fact="0.3602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r" for="ch" forName="Accent5" refType="w" fact="0.511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r" for="ch" forName="ParentBackground5" refType="w" fact="0.4829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r" for="ch" forName="Child5" refType="w" fact="0.4829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r" for="ch" forName="Accent4" refType="w" fact="0.6342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r" for="ch" forName="ParentBackground4" refType="w" fact="0.6056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r" for="ch" forName="Child4" refType="w" fact="0.6056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r" for="ch" forName="Accent3" refType="w" fact="0.7569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r" for="ch" forName="ParentBackground3" refType="w" fact="0.7283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r" for="ch" forName="Child3" refType="w" fact="0.7283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r" for="ch" forName="Accent2" refType="w" fact="0.8796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r" for="ch" forName="ParentBackground2" refType="w" fact="0.851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r" for="ch" forName="Child2" refType="w" fact="0.851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r" for="ch" forName="Accent1" refType="w" fact="1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r" for="ch" forName="ParentBackground1" refType="w" fact="0.9737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r" for="ch" forName="Child1" refType="w" fact="0.9737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25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r" for="ch" forName="Parent9" refType="w" fact="0.0881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r" for="ch" forName="Parent8" refType="w" fact="0.1974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r" for="ch" forName="Parent7" refType="w" fact="0.3067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r" for="ch" forName="Parent6" refType="w" fact="0.416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r" for="ch" forName="Parent5" refType="w" fact="0.5253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r" for="ch" forName="Parent4" refType="w" fact="0.6346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r" for="ch" forName="Parent3" refType="w" fact="0.7439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r" for="ch" forName="Parent2" refType="w" fact="0.8532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r" for="ch" forName="Parent1" refType="w" fact="0.962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r" for="ch" forName="Accent9" refType="w" fact="0.1058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r" for="ch" forName="ParentBackground9" refType="w" fact="0.1022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r" for="ch" forName="Child9" refType="w" fact="0.1022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r" for="ch" forName="Accent8" refType="w" fact="0.237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r" for="ch" forName="ParentBackground8" refType="w" fact="0.211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r" for="ch" forName="Child8" refType="w" fact="0.211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r" for="ch" forName="Accent7" refType="w" fact="0.3462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r" for="ch" forName="ParentBackground7" refType="w" fact="0.3208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r" for="ch" forName="Child7" refType="w" fact="0.3208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r" for="ch" forName="Accent6" refType="w" fact="0.455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r" for="ch" forName="ParentBackground6" refType="w" fact="0.4301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r" for="ch" forName="Child6" refType="w" fact="0.4301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r" for="ch" forName="Accent5" refType="w" fact="0.5648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r" for="ch" forName="ParentBackground5" refType="w" fact="0.5394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r" for="ch" forName="Child5" refType="w" fact="0.5394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r" for="ch" forName="Accent4" refType="w" fact="0.6741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r" for="ch" forName="ParentBackground4" refType="w" fact="0.6487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r" for="ch" forName="Child4" refType="w" fact="0.6487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r" for="ch" forName="Accent3" refType="w" fact="0.7834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r" for="ch" forName="ParentBackground3" refType="w" fact="0.758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r" for="ch" forName="Child3" refType="w" fact="0.758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r" for="ch" forName="Accent2" refType="w" fact="0.8927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r" for="ch" forName="ParentBackground2" refType="w" fact="0.8673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r" for="ch" forName="Child2" refType="w" fact="0.8673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r" for="ch" forName="Accent1" refType="w" fact="1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r" for="ch" forName="ParentBackground1" refType="w" fact="0.9765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r" for="ch" forName="Child1" refType="w" fact="0.9765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26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r" for="ch" forName="Parent10" refType="w" fact="0.079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r" for="ch" forName="Parent9" refType="w" fact="0.178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r" for="ch" forName="Parent8" refType="w" fact="0.276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r" for="ch" forName="Parent7" refType="w" fact="0.37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r" for="ch" forName="Parent6" refType="w" fact="0.4736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r" for="ch" forName="Parent5" refType="w" fact="0.5721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r" for="ch" forName="Parent4" refType="w" fact="0.6706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r" for="ch" forName="Parent3" refType="w" fact="0.7691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r" for="ch" forName="Parent2" refType="w" fact="0.8676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r" for="ch" forName="Parent1" refType="w" fact="0.9662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r" for="ch" forName="Accent10" refType="w" fact="0.0953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r" for="ch" forName="ParentBackground10" refType="w" fact="0.0922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r" for="ch" forName="Child10" refType="w" fact="0.0922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r" for="ch" forName="Accent9" refType="w" fact="0.2136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r" for="ch" forName="ParentBackground9" refType="w" fact="0.1907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r" for="ch" forName="Child9" refType="w" fact="0.1907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r" for="ch" forName="Accent8" refType="w" fact="0.3121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r" for="ch" forName="ParentBackground8" refType="w" fact="0.2892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r" for="ch" forName="Child8" refType="w" fact="0.2892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r" for="ch" forName="Accent7" refType="w" fact="0.4107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r" for="ch" forName="ParentBackground7" refType="w" fact="0.3877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r" for="ch" forName="Child7" refType="w" fact="0.3877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r" for="ch" forName="Accent6" refType="w" fact="0.5092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r" for="ch" forName="ParentBackground6" refType="w" fact="0.4863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r" for="ch" forName="Child6" refType="w" fact="0.4863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r" for="ch" forName="Accent5" refType="w" fact="0.6077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r" for="ch" forName="ParentBackground5" refType="w" fact="0.5848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r" for="ch" forName="Child5" refType="w" fact="0.5848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r" for="ch" forName="Accent4" refType="w" fact="0.7062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r" for="ch" forName="ParentBackground4" refType="w" fact="0.6833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r" for="ch" forName="Child4" refType="w" fact="0.6833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r" for="ch" forName="Accent3" refType="w" fact="0.8048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r" for="ch" forName="ParentBackground3" refType="w" fact="0.7818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r" for="ch" forName="Child3" refType="w" fact="0.7818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r" for="ch" forName="Accent2" refType="w" fact="0.9033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r" for="ch" forName="ParentBackground2" refType="w" fact="0.8804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r" for="ch" forName="Child2" refType="w" fact="0.8804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r" for="ch" forName="Accent1" refType="w" fact="1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r" for="ch" forName="ParentBackground1" refType="w" fact="0.9789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r" for="ch" forName="Child1" refType="w" fact="0.9789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27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r" for="ch" forName="Parent11" refType="w" fact="0.0723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r" for="ch" forName="Parent10" refType="w" fact="0.162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r" for="ch" forName="Parent9" refType="w" fact="0.2517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r" for="ch" forName="Parent8" refType="w" fact="0.3414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r" for="ch" forName="Parent7" refType="w" fact="0.4311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r" for="ch" forName="Parent6" refType="w" fact="0.5208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r" for="ch" forName="Parent5" refType="w" fact="0.610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r" for="ch" forName="Parent4" refType="w" fact="0.7001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r" for="ch" forName="Parent3" refType="w" fact="0.7898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r" for="ch" forName="Parent2" refType="w" fact="0.879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r" for="ch" forName="Parent1" refType="w" fact="0.9692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r" for="ch" forName="Accent11" refType="w" fact="0.0868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r" for="ch" forName="ParentBackground11" refType="w" fact="0.0839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r" for="ch" forName="Child11" refType="w" fact="0.0839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r" for="ch" forName="Accent10" refType="w" fact="0.194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r" for="ch" forName="ParentBackground10" refType="w" fact="0.1736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r" for="ch" forName="Child10" refType="w" fact="0.1736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r" for="ch" forName="Accent9" refType="w" fact="0.2842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r" for="ch" forName="ParentBackground9" refType="w" fact="0.2633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r" for="ch" forName="Child9" refType="w" fact="0.2633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r" for="ch" forName="Accent8" refType="w" fact="0.3739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r" for="ch" forName="ParentBackground8" refType="w" fact="0.353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r" for="ch" forName="Child8" refType="w" fact="0.353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r" for="ch" forName="Accent7" refType="w" fact="0.4636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r" for="ch" forName="ParentBackground7" refType="w" fact="0.4427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r" for="ch" forName="Child7" refType="w" fact="0.4427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r" for="ch" forName="Accent6" refType="w" fact="0.5533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r" for="ch" forName="ParentBackground6" refType="w" fact="0.5323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r" for="ch" forName="Child6" refType="w" fact="0.5323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r" for="ch" forName="Accent5" refType="w" fact="0.6429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r" for="ch" forName="ParentBackground5" refType="w" fact="0.622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r" for="ch" forName="Child5" refType="w" fact="0.622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r" for="ch" forName="Accent4" refType="w" fact="0.7326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r" for="ch" forName="ParentBackground4" refType="w" fact="0.7117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r" for="ch" forName="Child4" refType="w" fact="0.7117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r" for="ch" forName="Accent3" refType="w" fact="0.8223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r" for="ch" forName="ParentBackground3" refType="w" fact="0.8014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r" for="ch" forName="Child3" refType="w" fact="0.8014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r" for="ch" forName="Accent2" refType="w" fact="0.912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r" for="ch" forName="ParentBackground2" refType="w" fact="0.8911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r" for="ch" forName="Child2" refType="w" fact="0.8911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r" for="ch" forName="Accent1" refType="w" fact="1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r" for="ch" forName="ParentBackground1" refType="w" fact="0.9808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r" for="ch" forName="Child1" refType="w" fact="0.9808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8">
            <dgm:if name="Name29" axis="followSib" ptType="node" func="cnt" op="equ" val="0">
              <dgm:shape xmlns:r="http://schemas.openxmlformats.org/officeDocument/2006/relationships" type="ellipse" r:blip="">
                <dgm:adjLst/>
              </dgm:shape>
            </dgm:if>
            <dgm:else name="Name30">
              <dgm:choose name="Name31">
                <dgm:if name="Name32" axis="precedSib" ptType="node" func="cnt" op="equ" val="10">
                  <dgm:shape xmlns:r="http://schemas.openxmlformats.org/officeDocument/2006/relationships" type="ellipse" r:blip="">
                    <dgm:adjLst/>
                  </dgm:shape>
                </dgm:if>
                <dgm:else name="Name33">
                  <dgm:choose name="Name34">
                    <dgm:if name="Name35" func="var" arg="dir" op="equ" val="norm">
                      <dgm:shape xmlns:r="http://schemas.openxmlformats.org/officeDocument/2006/relationships" rot="45" type="teardrop" r:blip="">
                        <dgm:adjLst>
                          <dgm:adj idx="1" val="1"/>
                        </dgm:adjLst>
                      </dgm:shape>
                    </dgm:if>
                    <dgm:else name="Name36">
                      <dgm:shape xmlns:r="http://schemas.openxmlformats.org/officeDocument/2006/relationships" rot="225" type="teardrop" r:blip="">
                        <dgm:adjLst>
                          <dgm:adj idx="1" val="1"/>
                        </dgm:adjLst>
                      </dgm:shape>
                    </dgm:else>
                  </dgm:choose>
                </dgm:else>
              </dgm:choose>
            </dgm:else>
          </dgm:choose>
          <dgm:presOf/>
        </dgm:layoutNode>
      </dgm:forEach>
      <dgm:forEach name="parentBackgroundRepeat" axis="self">
        <dgm:layoutNode name="ParentBackground" styleLbl="fgAcc1">
          <dgm:alg type="sp"/>
          <dgm:shape xmlns:r="http://schemas.openxmlformats.org/officeDocument/2006/relationships" type="ellipse" r:blip="">
            <dgm:adjLst/>
          </dgm:shape>
          <dgm:presOf axis="self" ptType="node"/>
        </dgm:layoutNode>
      </dgm:forEach>
    </dgm:forEach>
    <dgm:forEach name="Name37" axis="ch" ptType="node" st="11" cnt="1"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38" ref="accentRepeat"/>
      </dgm:layoutNode>
      <dgm:layoutNode name="ParentBackground11">
        <dgm:alg type="sp"/>
        <dgm:shape xmlns:r="http://schemas.openxmlformats.org/officeDocument/2006/relationships" r:blip="">
          <dgm:adjLst/>
        </dgm:shape>
        <dgm:presOf/>
        <dgm:forEach name="Name39" ref="parentBackgroundRepeat"/>
      </dgm:layoutNode>
      <dgm:choose name="Name40">
        <dgm:if name="Name41" axis="ch" ptType="node" func="cnt" op="gte" val="1">
          <dgm:layoutNode name="Child1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2"/>
      </dgm:choose>
      <dgm:layoutNode name="Parent1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3" axis="ch" ptType="node" st="10" cnt="1"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44" ref="accentRepeat"/>
      </dgm:layoutNode>
      <dgm:layoutNode name="ParentBackground10">
        <dgm:alg type="sp"/>
        <dgm:shape xmlns:r="http://schemas.openxmlformats.org/officeDocument/2006/relationships" r:blip="">
          <dgm:adjLst/>
        </dgm:shape>
        <dgm:presOf/>
        <dgm:forEach name="Name45" ref="parentBackgroundRepeat"/>
      </dgm:layoutNode>
      <dgm:choose name="Name46">
        <dgm:if name="Name47" axis="ch" ptType="node" func="cnt" op="gte" val="1">
          <dgm:layoutNode name="Child10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8"/>
      </dgm:choose>
      <dgm:layoutNode name="Parent10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9" axis="ch" ptType="node" st="9" cnt="1"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ParentBackground9">
        <dgm:alg type="sp"/>
        <dgm:shape xmlns:r="http://schemas.openxmlformats.org/officeDocument/2006/relationships" r:blip="">
          <dgm:adjLst/>
        </dgm:shape>
        <dgm:presOf/>
        <dgm:forEach name="Name51" ref="parentBackgroundRepeat"/>
      </dgm:layoutNode>
      <dgm:choose name="Name52">
        <dgm:if name="Name53" axis="ch" ptType="node" func="cnt" op="gte" val="1">
          <dgm:layoutNode name="Child9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4"/>
      </dgm:choose>
      <dgm:layoutNode name="Parent9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55" axis="ch" ptType="node" st="8" cnt="1"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56" ref="accentRepeat"/>
      </dgm:layoutNode>
      <dgm:layoutNode name="ParentBackground8">
        <dgm:alg type="sp"/>
        <dgm:shape xmlns:r="http://schemas.openxmlformats.org/officeDocument/2006/relationships" r:blip="">
          <dgm:adjLst/>
        </dgm:shape>
        <dgm:presOf/>
        <dgm:forEach name="Name57" ref="parentBackgroundRepeat"/>
      </dgm:layoutNode>
      <dgm:choose name="Name58">
        <dgm:if name="Name59" axis="ch" ptType="node" func="cnt" op="gte" val="1">
          <dgm:layoutNode name="Child8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0"/>
      </dgm:choose>
      <dgm:layoutNode name="Parent8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1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62" ref="accentRepeat"/>
      </dgm:layoutNode>
      <dgm:layoutNode name="ParentBackground7">
        <dgm:alg type="sp"/>
        <dgm:shape xmlns:r="http://schemas.openxmlformats.org/officeDocument/2006/relationships" r:blip="">
          <dgm:adjLst/>
        </dgm:shape>
        <dgm:presOf/>
        <dgm:forEach name="Name63" ref="parentBackgroundRepeat"/>
      </dgm:layoutNode>
      <dgm:choose name="Name64">
        <dgm:if name="Name65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6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68" ref="accentRepeat"/>
      </dgm:layoutNode>
      <dgm:layoutNode name="ParentBackground6">
        <dgm:alg type="sp"/>
        <dgm:shape xmlns:r="http://schemas.openxmlformats.org/officeDocument/2006/relationships" r:blip="">
          <dgm:adjLst/>
        </dgm:shape>
        <dgm:presOf/>
        <dgm:forEach name="Name69" ref="parentBackgroundRepeat"/>
      </dgm:layoutNode>
      <dgm:choose name="Name70">
        <dgm:if name="Name71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3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74" ref="accentRepeat"/>
      </dgm:layoutNode>
      <dgm:layoutNode name="ParentBackground5">
        <dgm:alg type="sp"/>
        <dgm:shape xmlns:r="http://schemas.openxmlformats.org/officeDocument/2006/relationships" r:blip="">
          <dgm:adjLst/>
        </dgm:shape>
        <dgm:presOf/>
        <dgm:forEach name="Name75" ref="parentBackgroundRepeat"/>
      </dgm:layoutNode>
      <dgm:choose name="Name76">
        <dgm:if name="Name77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8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9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80" ref="accentRepeat"/>
      </dgm:layoutNode>
      <dgm:layoutNode name="ParentBackground4">
        <dgm:alg type="sp"/>
        <dgm:shape xmlns:r="http://schemas.openxmlformats.org/officeDocument/2006/relationships" r:blip="">
          <dgm:adjLst/>
        </dgm:shape>
        <dgm:presOf/>
        <dgm:forEach name="Name81" ref="parentBackgroundRepeat"/>
      </dgm:layoutNode>
      <dgm:choose name="Name82">
        <dgm:if name="Name8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layoutNode name="ParentBackground3">
        <dgm:alg type="sp"/>
        <dgm:shape xmlns:r="http://schemas.openxmlformats.org/officeDocument/2006/relationships" r:blip="">
          <dgm:adjLst/>
        </dgm:shape>
        <dgm:presOf/>
        <dgm:forEach name="Name87" ref="parentBackgroundRepeat"/>
      </dgm:layoutNode>
      <dgm:choose name="Name88">
        <dgm:if name="Name89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0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1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92" ref="accentRepeat"/>
      </dgm:layoutNode>
      <dgm:layoutNode name="ParentBackground2" styleLbl="fgAcc1">
        <dgm:alg type="sp"/>
        <dgm:shape xmlns:r="http://schemas.openxmlformats.org/officeDocument/2006/relationships" r:blip="">
          <dgm:adjLst/>
        </dgm:shape>
        <dgm:presOf/>
        <dgm:forEach name="Name93" ref="parentBackgroundRepeat"/>
      </dgm:layoutNode>
      <dgm:choose name="Name94">
        <dgm:if name="Name95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6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7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98" ref="accentRepeat"/>
      </dgm:layoutNode>
      <dgm:layoutNode name="ParentBackground1">
        <dgm:alg type="sp"/>
        <dgm:shape xmlns:r="http://schemas.openxmlformats.org/officeDocument/2006/relationships" r:blip="">
          <dgm:adjLst/>
        </dgm:shape>
        <dgm:presOf/>
        <dgm:forEach name="Name99" ref="parentBackgroundRepeat"/>
      </dgm:layoutNode>
      <dgm:choose name="Name100">
        <dgm:if name="Name101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102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1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6" tIns="45783" rIns="91566" bIns="45783" numCol="1" anchor="t" anchorCtr="0" compatLnSpc="1">
            <a:prstTxWarp prst="textNoShape">
              <a:avLst/>
            </a:prstTxWarp>
          </a:bodyPr>
          <a:lstStyle>
            <a:lvl1pPr defTabSz="915988" eaLnBrk="0" hangingPunct="0">
              <a:spcBef>
                <a:spcPct val="0"/>
              </a:spcBef>
              <a:defRPr sz="1200">
                <a:latin typeface="Expert Sans Regular" pitchFamily="34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191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6" tIns="45783" rIns="91566" bIns="45783" numCol="1" anchor="t" anchorCtr="0" compatLnSpc="1">
            <a:prstTxWarp prst="textNoShape">
              <a:avLst/>
            </a:prstTxWarp>
          </a:bodyPr>
          <a:lstStyle>
            <a:lvl1pPr algn="r" defTabSz="915988" eaLnBrk="0" hangingPunct="0">
              <a:spcBef>
                <a:spcPct val="0"/>
              </a:spcBef>
              <a:defRPr sz="1200">
                <a:latin typeface="Expert Sans Regular" pitchFamily="34" charset="0"/>
                <a:cs typeface="Arial" charset="0"/>
              </a:defRPr>
            </a:lvl1pPr>
          </a:lstStyle>
          <a:p>
            <a:pPr>
              <a:defRPr/>
            </a:pPr>
            <a:fld id="{57B64253-E1C9-4DE0-A820-24668F3DA6E2}" type="datetimeFigureOut">
              <a:rPr lang="en-GB"/>
              <a:pPr>
                <a:defRPr/>
              </a:pPr>
              <a:t>18/06/2015</a:t>
            </a:fld>
            <a:endParaRPr lang="en-GB" dirty="0"/>
          </a:p>
        </p:txBody>
      </p:sp>
      <p:sp>
        <p:nvSpPr>
          <p:cNvPr id="2191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7363"/>
            <a:ext cx="2946400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6" tIns="45783" rIns="91566" bIns="45783" numCol="1" anchor="b" anchorCtr="0" compatLnSpc="1">
            <a:prstTxWarp prst="textNoShape">
              <a:avLst/>
            </a:prstTxWarp>
          </a:bodyPr>
          <a:lstStyle>
            <a:lvl1pPr defTabSz="915988" eaLnBrk="0" hangingPunct="0">
              <a:spcBef>
                <a:spcPct val="0"/>
              </a:spcBef>
              <a:defRPr sz="1200">
                <a:latin typeface="Expert Sans Regular" pitchFamily="34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191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377363"/>
            <a:ext cx="2946400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6" tIns="45783" rIns="91566" bIns="45783" numCol="1" anchor="b" anchorCtr="0" compatLnSpc="1">
            <a:prstTxWarp prst="textNoShape">
              <a:avLst/>
            </a:prstTxWarp>
          </a:bodyPr>
          <a:lstStyle>
            <a:lvl1pPr algn="r" defTabSz="915988" eaLnBrk="0" hangingPunct="0">
              <a:spcBef>
                <a:spcPct val="0"/>
              </a:spcBef>
              <a:defRPr sz="1200">
                <a:latin typeface="Expert Sans Regular" pitchFamily="34" charset="0"/>
                <a:cs typeface="Arial" charset="0"/>
              </a:defRPr>
            </a:lvl1pPr>
          </a:lstStyle>
          <a:p>
            <a:pPr>
              <a:defRPr/>
            </a:pPr>
            <a:fld id="{74C87804-D243-4023-B0D8-B098856CA47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47300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4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07" tIns="45506" rIns="91007" bIns="45506" numCol="1" anchor="t" anchorCtr="0" compatLnSpc="1">
            <a:prstTxWarp prst="textNoShape">
              <a:avLst/>
            </a:prstTxWarp>
          </a:bodyPr>
          <a:lstStyle>
            <a:lvl1pPr defTabSz="909638">
              <a:spcBef>
                <a:spcPct val="0"/>
              </a:spcBef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1"/>
            <a:ext cx="29464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07" tIns="45506" rIns="91007" bIns="45506" numCol="1" anchor="t" anchorCtr="0" compatLnSpc="1">
            <a:prstTxWarp prst="textNoShape">
              <a:avLst/>
            </a:prstTxWarp>
          </a:bodyPr>
          <a:lstStyle>
            <a:lvl1pPr algn="r" defTabSz="909638">
              <a:spcBef>
                <a:spcPct val="0"/>
              </a:spcBef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37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5488" y="739775"/>
            <a:ext cx="5349875" cy="37036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689475"/>
            <a:ext cx="5438775" cy="444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07" tIns="45506" rIns="91007" bIns="455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8951"/>
            <a:ext cx="29464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07" tIns="45506" rIns="91007" bIns="45506" numCol="1" anchor="b" anchorCtr="0" compatLnSpc="1">
            <a:prstTxWarp prst="textNoShape">
              <a:avLst/>
            </a:prstTxWarp>
          </a:bodyPr>
          <a:lstStyle>
            <a:lvl1pPr defTabSz="909638">
              <a:spcBef>
                <a:spcPct val="0"/>
              </a:spcBef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378951"/>
            <a:ext cx="29464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07" tIns="45506" rIns="91007" bIns="45506" numCol="1" anchor="b" anchorCtr="0" compatLnSpc="1">
            <a:prstTxWarp prst="textNoShape">
              <a:avLst/>
            </a:prstTxWarp>
          </a:bodyPr>
          <a:lstStyle>
            <a:lvl1pPr algn="r" defTabSz="909638">
              <a:spcBef>
                <a:spcPct val="0"/>
              </a:spcBef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63092AD0-6377-4B38-BFB9-22535758686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19977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 noRot="1" noChangeAspect="1"/>
          </p:cNvSpPr>
          <p:nvPr>
            <p:ph type="sldImg" idx="2"/>
          </p:nvPr>
        </p:nvSpPr>
        <p:spPr>
          <a:xfrm>
            <a:off x="723900" y="739775"/>
            <a:ext cx="5349875" cy="370363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9" name="Shape 39"/>
          <p:cNvSpPr txBox="1">
            <a:spLocks noGrp="1"/>
          </p:cNvSpPr>
          <p:nvPr>
            <p:ph type="body" idx="1"/>
          </p:nvPr>
        </p:nvSpPr>
        <p:spPr>
          <a:xfrm>
            <a:off x="679769" y="4689515"/>
            <a:ext cx="5438139" cy="4442698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GB" sz="1200">
                <a:latin typeface="Open Sans"/>
                <a:ea typeface="Open Sans"/>
                <a:cs typeface="Open Sans"/>
                <a:sym typeface="Open Sans"/>
              </a:rPr>
              <a:t>this session is based on the feedback and suggestions from the last session (ie the user needs)</a:t>
            </a:r>
          </a:p>
        </p:txBody>
      </p:sp>
    </p:spTree>
    <p:extLst>
      <p:ext uri="{BB962C8B-B14F-4D97-AF65-F5344CB8AC3E}">
        <p14:creationId xmlns:p14="http://schemas.microsoft.com/office/powerpoint/2010/main" val="20556361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3092AD0-6377-4B38-BFB9-225357586863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5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0954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3092AD0-6377-4B38-BFB9-225357586863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9228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implifying the Technology estate across product platforms &amp; improve productivity</a:t>
            </a:r>
            <a:br>
              <a:rPr lang="en-GB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</a:br>
            <a:r>
              <a:rPr lang="en-GB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Focused on delivering  customer &amp; colleague experiences across PCB through automation.</a:t>
            </a:r>
            <a:br>
              <a:rPr lang="en-GB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</a:br>
            <a:r>
              <a:rPr lang="en-GB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Push button Environment commissioning to reduce time to market for apps</a:t>
            </a:r>
            <a:br>
              <a:rPr lang="en-GB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</a:br>
            <a:r>
              <a:rPr lang="en-GB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Clear vision to improve development lifecycle from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Quality &amp; Efficienc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Robust Quality Management Tool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Objectives to reduce time &amp; effort to commission new environment, reduction in infra footpri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3092AD0-6377-4B38-BFB9-225357586863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5348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3092AD0-6377-4B38-BFB9-225357586863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9883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3092AD0-6377-4B38-BFB9-225357586863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7778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3092AD0-6377-4B38-BFB9-225357586863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67990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3092AD0-6377-4B38-BFB9-225357586863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68104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3092AD0-6377-4B38-BFB9-225357586863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9106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3092AD0-6377-4B38-BFB9-225357586863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4789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5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White Title B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0"/>
            <a:ext cx="3279775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75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14353" y="2768603"/>
            <a:ext cx="7772400" cy="1470025"/>
          </a:xfrm>
        </p:spPr>
        <p:txBody>
          <a:bodyPr/>
          <a:lstStyle>
            <a:lvl1pPr>
              <a:defRPr sz="2400">
                <a:latin typeface="Expert Humanist Black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475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3880" y="5153035"/>
            <a:ext cx="6400800" cy="1533525"/>
          </a:xfr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pic>
        <p:nvPicPr>
          <p:cNvPr id="5" name="Picture 2" descr="White Title B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1"/>
            <a:ext cx="3019644" cy="100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White Title B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84" b="-14384"/>
          <a:stretch/>
        </p:blipFill>
        <p:spPr bwMode="auto">
          <a:xfrm>
            <a:off x="0" y="1"/>
            <a:ext cx="3019644" cy="100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1511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1474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52" y="452871"/>
            <a:ext cx="8643125" cy="5264649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918066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13629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1549" y="1104439"/>
            <a:ext cx="4079346" cy="2154436"/>
          </a:xfrm>
        </p:spPr>
        <p:txBody>
          <a:bodyPr/>
          <a:lstStyle>
            <a:lvl1pPr>
              <a:buFont typeface="Arial" pitchFamily="34" charset="0"/>
              <a:buNone/>
              <a:defRPr sz="2000"/>
            </a:lvl1pPr>
            <a:lvl2pPr marL="0" indent="0">
              <a:buNone/>
              <a:defRPr sz="2000"/>
            </a:lvl2pPr>
            <a:lvl3pPr marL="234950" indent="0">
              <a:buNone/>
              <a:defRPr sz="2000"/>
            </a:lvl3pPr>
            <a:lvl4pPr marL="568325" indent="0">
              <a:buNone/>
              <a:defRPr sz="2000"/>
            </a:lvl4pPr>
            <a:lvl5pPr marL="858838" indent="0">
              <a:buNone/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69701" y="1104439"/>
            <a:ext cx="4079345" cy="2154436"/>
          </a:xfrm>
        </p:spPr>
        <p:txBody>
          <a:bodyPr/>
          <a:lstStyle>
            <a:lvl1pPr>
              <a:buFont typeface="Arial" pitchFamily="34" charset="0"/>
              <a:buNone/>
              <a:defRPr sz="2000"/>
            </a:lvl1pPr>
            <a:lvl2pPr marL="0" indent="0">
              <a:buNone/>
              <a:defRPr sz="2000"/>
            </a:lvl2pPr>
            <a:lvl3pPr marL="234950" indent="0">
              <a:buNone/>
              <a:defRPr sz="2000"/>
            </a:lvl3pPr>
            <a:lvl4pPr marL="568325" indent="0">
              <a:buNone/>
              <a:defRPr sz="2000"/>
            </a:lvl4pPr>
            <a:lvl5pPr marL="858838" indent="0">
              <a:buNone/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27468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170432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652" y="384183"/>
            <a:ext cx="8734425" cy="4603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741915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652" y="384183"/>
            <a:ext cx="8734425" cy="4603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763593" y="1095382"/>
            <a:ext cx="8670925" cy="307777"/>
          </a:xfrm>
        </p:spPr>
        <p:txBody>
          <a:bodyPr/>
          <a:lstStyle/>
          <a:p>
            <a:pPr lvl="0"/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1423037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755652" y="384175"/>
            <a:ext cx="8734425" cy="21544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8787247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652" y="384183"/>
            <a:ext cx="8734425" cy="4603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63593" y="1095382"/>
            <a:ext cx="8670925" cy="307777"/>
          </a:xfrm>
        </p:spPr>
        <p:txBody>
          <a:bodyPr/>
          <a:lstStyle/>
          <a:p>
            <a:pPr lvl="0"/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97135715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White Title B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0"/>
            <a:ext cx="3279775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75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14353" y="2768603"/>
            <a:ext cx="7772400" cy="1470025"/>
          </a:xfrm>
        </p:spPr>
        <p:txBody>
          <a:bodyPr/>
          <a:lstStyle>
            <a:lvl1pPr>
              <a:defRPr sz="2400">
                <a:latin typeface="Expert Humanist Black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475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3880" y="5153035"/>
            <a:ext cx="6400800" cy="1533525"/>
          </a:xfr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4618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36277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4" y="440691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4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077178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15125" y="1160469"/>
            <a:ext cx="2114550" cy="52609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71475" y="1160469"/>
            <a:ext cx="6191250" cy="52609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28755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3" y="1974850"/>
            <a:ext cx="4143375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6775" y="1974850"/>
            <a:ext cx="4143375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2854766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0358544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5970887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5731495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3098585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93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93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93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1069067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6289247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15125" y="1160469"/>
            <a:ext cx="2114550" cy="52609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71475" y="1160469"/>
            <a:ext cx="6191250" cy="52609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0936326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810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2840207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347253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r_06_COL_POS [Converted]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098483" y="3007917"/>
            <a:ext cx="1309851" cy="222742"/>
          </a:xfrm>
          <a:prstGeom prst="rect">
            <a:avLst/>
          </a:prstGeom>
        </p:spPr>
      </p:pic>
      <p:grpSp>
        <p:nvGrpSpPr>
          <p:cNvPr id="15" name="Group 14"/>
          <p:cNvGrpSpPr/>
          <p:nvPr userDrawn="1"/>
        </p:nvGrpSpPr>
        <p:grpSpPr>
          <a:xfrm>
            <a:off x="784216" y="2132016"/>
            <a:ext cx="7140598" cy="1965960"/>
            <a:chOff x="1865096" y="985741"/>
            <a:chExt cx="5446206" cy="3557683"/>
          </a:xfrm>
        </p:grpSpPr>
        <p:cxnSp>
          <p:nvCxnSpPr>
            <p:cNvPr id="23" name="Straight Connector 22"/>
            <p:cNvCxnSpPr/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" name="Straight Connector 23"/>
            <p:cNvCxnSpPr/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966185" y="2701058"/>
            <a:ext cx="6604343" cy="492443"/>
          </a:xfrm>
        </p:spPr>
        <p:txBody>
          <a:bodyPr anchor="b" anchorCtr="0"/>
          <a:lstStyle>
            <a:lvl1pPr>
              <a:defRPr sz="32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966183" y="3273508"/>
            <a:ext cx="6595797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787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7285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528769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2756" y="1974850"/>
            <a:ext cx="4488656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6509" y="1974850"/>
            <a:ext cx="4488656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613885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9056948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0946" y="116632"/>
            <a:ext cx="6484689" cy="360040"/>
          </a:xfrm>
        </p:spPr>
        <p:txBody>
          <a:bodyPr/>
          <a:lstStyle>
            <a:lvl1pPr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2394533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 flipV="1">
            <a:off x="194338" y="649288"/>
            <a:ext cx="9276556" cy="0"/>
          </a:xfrm>
          <a:prstGeom prst="line">
            <a:avLst/>
          </a:prstGeom>
          <a:ln>
            <a:solidFill>
              <a:srgbClr val="00AEE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09579" y="1010024"/>
            <a:ext cx="4276725" cy="41243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0192370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435"/>
            <a:ext cx="5537729" cy="5853113"/>
          </a:xfrm>
        </p:spPr>
        <p:txBody>
          <a:bodyPr/>
          <a:lstStyle>
            <a:lvl1pPr>
              <a:defRPr sz="3200" b="0">
                <a:solidFill>
                  <a:schemeClr val="accent2"/>
                </a:solidFill>
              </a:defRPr>
            </a:lvl1pPr>
            <a:lvl2pPr>
              <a:defRPr sz="2800" b="0">
                <a:solidFill>
                  <a:schemeClr val="accent2"/>
                </a:solidFill>
              </a:defRPr>
            </a:lvl2pPr>
            <a:lvl3pPr>
              <a:defRPr sz="2400" b="0">
                <a:solidFill>
                  <a:schemeClr val="accent2"/>
                </a:solidFill>
              </a:defRPr>
            </a:lvl3pPr>
            <a:lvl4pPr>
              <a:defRPr sz="2000" b="0">
                <a:solidFill>
                  <a:schemeClr val="accent2"/>
                </a:solidFill>
              </a:defRPr>
            </a:lvl4pPr>
            <a:lvl5pPr>
              <a:defRPr sz="2000" b="0">
                <a:solidFill>
                  <a:schemeClr val="accent2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3099944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3765920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1911719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74725" y="1160469"/>
            <a:ext cx="2290763" cy="52609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2431" y="1160469"/>
            <a:ext cx="6707188" cy="52609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5272900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Bar_06_COL_POS [Converted]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97838" y="2654300"/>
            <a:ext cx="1311275" cy="223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5"/>
          <p:cNvSpPr/>
          <p:nvPr userDrawn="1"/>
        </p:nvSpPr>
        <p:spPr bwMode="auto">
          <a:xfrm>
            <a:off x="2003425" y="2487613"/>
            <a:ext cx="5921375" cy="55403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endParaRPr lang="en-US" sz="3600" b="0" dirty="0">
              <a:solidFill>
                <a:srgbClr val="00AEEF"/>
              </a:solidFill>
              <a:latin typeface="Arial" pitchFamily="34" charset="0"/>
              <a:cs typeface="+mn-cs"/>
            </a:endParaRPr>
          </a:p>
        </p:txBody>
      </p:sp>
      <p:pic>
        <p:nvPicPr>
          <p:cNvPr id="6" name="Picture 9" descr="Picture 29.png"/>
          <p:cNvPicPr>
            <a:picLocks/>
          </p:cNvPicPr>
          <p:nvPr userDrawn="1"/>
        </p:nvPicPr>
        <p:blipFill>
          <a:blip r:embed="rId3" cstate="print"/>
          <a:srcRect l="2068" b="7236"/>
          <a:stretch>
            <a:fillRect/>
          </a:stretch>
        </p:blipFill>
        <p:spPr bwMode="auto">
          <a:xfrm>
            <a:off x="2020888" y="1031875"/>
            <a:ext cx="5873750" cy="3465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11"/>
          <p:cNvCxnSpPr>
            <a:cxnSpLocks noChangeShapeType="1"/>
          </p:cNvCxnSpPr>
          <p:nvPr userDrawn="1"/>
        </p:nvCxnSpPr>
        <p:spPr bwMode="auto">
          <a:xfrm rot="16200000" flipH="1">
            <a:off x="242094" y="2764632"/>
            <a:ext cx="3557587" cy="0"/>
          </a:xfrm>
          <a:prstGeom prst="line">
            <a:avLst/>
          </a:prstGeom>
          <a:noFill/>
          <a:ln w="63500" cap="rnd" algn="ctr">
            <a:solidFill>
              <a:schemeClr val="bg2"/>
            </a:solidFill>
            <a:round/>
            <a:headEnd/>
            <a:tailEnd/>
          </a:ln>
        </p:spPr>
      </p:cxnSp>
      <p:cxnSp>
        <p:nvCxnSpPr>
          <p:cNvPr id="8" name="Straight Connector 14"/>
          <p:cNvCxnSpPr>
            <a:cxnSpLocks noChangeShapeType="1"/>
          </p:cNvCxnSpPr>
          <p:nvPr userDrawn="1"/>
        </p:nvCxnSpPr>
        <p:spPr bwMode="auto">
          <a:xfrm rot="16200000" flipH="1">
            <a:off x="6141244" y="2764632"/>
            <a:ext cx="3557587" cy="0"/>
          </a:xfrm>
          <a:prstGeom prst="line">
            <a:avLst/>
          </a:prstGeom>
          <a:noFill/>
          <a:ln w="63500" cap="rnd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8094663" y="438150"/>
            <a:ext cx="1373187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000" b="0" dirty="0">
                <a:solidFill>
                  <a:srgbClr val="00AEEF"/>
                </a:solidFill>
                <a:latin typeface="Expert Sans Regular"/>
                <a:cs typeface="+mn-cs"/>
              </a:rPr>
              <a:t>Signposting</a:t>
            </a:r>
          </a:p>
        </p:txBody>
      </p:sp>
      <p:sp>
        <p:nvSpPr>
          <p:cNvPr id="11274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2206785" y="4729391"/>
            <a:ext cx="5766253" cy="492443"/>
          </a:xfrm>
        </p:spPr>
        <p:txBody>
          <a:bodyPr/>
          <a:lstStyle>
            <a:lvl1pPr>
              <a:defRPr sz="32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288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210397" y="5270117"/>
            <a:ext cx="5838692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9554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35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64395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Bar_06_COL_POS [Converted]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97838" y="3008313"/>
            <a:ext cx="1311275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14"/>
          <p:cNvGrpSpPr>
            <a:grpSpLocks/>
          </p:cNvGrpSpPr>
          <p:nvPr userDrawn="1"/>
        </p:nvGrpSpPr>
        <p:grpSpPr bwMode="auto">
          <a:xfrm>
            <a:off x="784225" y="2132013"/>
            <a:ext cx="7140575" cy="1965325"/>
            <a:chOff x="1865096" y="985741"/>
            <a:chExt cx="5446206" cy="3557683"/>
          </a:xfrm>
        </p:grpSpPr>
        <p:cxnSp>
          <p:nvCxnSpPr>
            <p:cNvPr id="6" name="Straight Connector 22"/>
            <p:cNvCxnSpPr>
              <a:cxnSpLocks noChangeShapeType="1"/>
            </p:cNvCxnSpPr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</p:spPr>
        </p:cxnSp>
        <p:cxnSp>
          <p:nvCxnSpPr>
            <p:cNvPr id="7" name="Straight Connector 23"/>
            <p:cNvCxnSpPr>
              <a:cxnSpLocks noChangeShapeType="1"/>
            </p:cNvCxnSpPr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</p:spPr>
        </p:cxnSp>
      </p:grp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094663" y="438150"/>
            <a:ext cx="1373187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000" b="0" dirty="0">
                <a:solidFill>
                  <a:srgbClr val="00AEEF"/>
                </a:solidFill>
                <a:latin typeface="Expert Sans Regular"/>
                <a:cs typeface="+mn-cs"/>
              </a:rPr>
              <a:t>Signposting</a:t>
            </a:r>
          </a:p>
        </p:txBody>
      </p: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966181" y="2701044"/>
            <a:ext cx="6604343" cy="492443"/>
          </a:xfrm>
        </p:spPr>
        <p:txBody>
          <a:bodyPr anchor="b"/>
          <a:lstStyle>
            <a:lvl1pPr>
              <a:defRPr sz="32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66181" y="3273494"/>
            <a:ext cx="6595797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92956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Bar_06_COL_POS [Converted]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97838" y="3008313"/>
            <a:ext cx="1311275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14"/>
          <p:cNvGrpSpPr>
            <a:grpSpLocks/>
          </p:cNvGrpSpPr>
          <p:nvPr userDrawn="1"/>
        </p:nvGrpSpPr>
        <p:grpSpPr bwMode="auto">
          <a:xfrm>
            <a:off x="2011363" y="2132013"/>
            <a:ext cx="5913437" cy="1965325"/>
            <a:chOff x="1865096" y="985741"/>
            <a:chExt cx="5446206" cy="3557683"/>
          </a:xfrm>
        </p:grpSpPr>
        <p:cxnSp>
          <p:nvCxnSpPr>
            <p:cNvPr id="6" name="Straight Connector 22"/>
            <p:cNvCxnSpPr>
              <a:cxnSpLocks noChangeShapeType="1"/>
            </p:cNvCxnSpPr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</p:spPr>
        </p:cxnSp>
        <p:cxnSp>
          <p:nvCxnSpPr>
            <p:cNvPr id="7" name="Straight Connector 23"/>
            <p:cNvCxnSpPr>
              <a:cxnSpLocks noChangeShapeType="1"/>
            </p:cNvCxnSpPr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</p:spPr>
        </p:cxnSp>
      </p:grp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094663" y="438150"/>
            <a:ext cx="1373187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000" b="0" dirty="0">
                <a:solidFill>
                  <a:srgbClr val="00AEEF"/>
                </a:solidFill>
                <a:latin typeface="Expert Sans Regular"/>
                <a:cs typeface="+mn-cs"/>
              </a:rPr>
              <a:t>Signposting</a:t>
            </a:r>
          </a:p>
        </p:txBody>
      </p: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2203916" y="2708187"/>
            <a:ext cx="5343392" cy="492443"/>
          </a:xfrm>
        </p:spPr>
        <p:txBody>
          <a:bodyPr anchor="b"/>
          <a:lstStyle>
            <a:lvl1pPr>
              <a:defRPr sz="32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210023" y="3278940"/>
            <a:ext cx="5336477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904982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9"/>
          <p:cNvSpPr txBox="1">
            <a:spLocks noChangeArrowheads="1"/>
          </p:cNvSpPr>
          <p:nvPr userDrawn="1"/>
        </p:nvSpPr>
        <p:spPr bwMode="auto">
          <a:xfrm>
            <a:off x="8094663" y="438150"/>
            <a:ext cx="1373187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000" b="0" dirty="0">
                <a:solidFill>
                  <a:srgbClr val="00AEEF"/>
                </a:solidFill>
                <a:latin typeface="Expert Sans Regular"/>
                <a:cs typeface="+mn-cs"/>
              </a:rPr>
              <a:t>Signposting</a:t>
            </a:r>
          </a:p>
        </p:txBody>
      </p:sp>
      <p:pic>
        <p:nvPicPr>
          <p:cNvPr id="5" name="Picture 7" descr="Bar_06_COL_POS [Converted]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07363" y="6410325"/>
            <a:ext cx="1298575" cy="220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751551" y="2730719"/>
            <a:ext cx="6818973" cy="461665"/>
          </a:xfrm>
        </p:spPr>
        <p:txBody>
          <a:bodyPr anchor="b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51828" y="3273311"/>
            <a:ext cx="6810149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360339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751551" y="2730719"/>
            <a:ext cx="6818973" cy="461665"/>
          </a:xfrm>
        </p:spPr>
        <p:txBody>
          <a:bodyPr anchor="b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51828" y="3281722"/>
            <a:ext cx="6810149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dirty="0">
                <a:solidFill>
                  <a:srgbClr val="000000"/>
                </a:solidFill>
              </a:rPr>
              <a:t>‹#›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89245998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30"/>
            <a:ext cx="8734821" cy="461665"/>
          </a:xfrm>
        </p:spPr>
        <p:txBody>
          <a:bodyPr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89" y="1096009"/>
            <a:ext cx="8671190" cy="2154436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2000">
                <a:latin typeface="+mn-lt"/>
              </a:defRPr>
            </a:lvl2pPr>
            <a:lvl3pPr marL="571500" indent="-342900">
              <a:defRPr sz="2000">
                <a:latin typeface="+mn-lt"/>
              </a:defRPr>
            </a:lvl3pPr>
            <a:lvl4pPr marL="862013" indent="-290513">
              <a:defRPr sz="2000">
                <a:latin typeface="+mn-lt"/>
              </a:defRPr>
            </a:lvl4pPr>
            <a:lvl5pPr marL="1204913" indent="-342900">
              <a:defRPr sz="20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E032F9-860D-4882-B4B6-569C895F3CC9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dirty="0">
                <a:solidFill>
                  <a:srgbClr val="000000"/>
                </a:solidFill>
              </a:rPr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416920078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umbered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30"/>
            <a:ext cx="8734821" cy="461665"/>
          </a:xfrm>
        </p:spPr>
        <p:txBody>
          <a:bodyPr anchor="t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89" y="1096009"/>
            <a:ext cx="8671190" cy="1938992"/>
          </a:xfrm>
        </p:spPr>
        <p:txBody>
          <a:bodyPr/>
          <a:lstStyle>
            <a:lvl1pPr marL="341313" indent="-341313">
              <a:lnSpc>
                <a:spcPct val="100000"/>
              </a:lnSpc>
              <a:spcBef>
                <a:spcPts val="900"/>
              </a:spcBef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+mn-lt"/>
              </a:defRPr>
            </a:lvl1pPr>
            <a:lvl2pPr marL="682625" indent="-341313">
              <a:lnSpc>
                <a:spcPct val="100000"/>
              </a:lnSpc>
              <a:spcBef>
                <a:spcPts val="900"/>
              </a:spcBef>
              <a:buFont typeface="+mj-lt"/>
              <a:buAutoNum type="alphaLcPeriod"/>
              <a:defRPr sz="2000">
                <a:latin typeface="+mn-lt"/>
              </a:defRPr>
            </a:lvl2pPr>
            <a:lvl3pPr marL="1025525" indent="-333375">
              <a:lnSpc>
                <a:spcPct val="100000"/>
              </a:lnSpc>
              <a:spcBef>
                <a:spcPts val="900"/>
              </a:spcBef>
              <a:defRPr sz="2000">
                <a:latin typeface="+mn-lt"/>
              </a:defRPr>
            </a:lvl3pPr>
            <a:lvl4pPr marL="1146175" indent="-231775">
              <a:lnSpc>
                <a:spcPct val="100000"/>
              </a:lnSpc>
              <a:spcBef>
                <a:spcPts val="900"/>
              </a:spcBef>
              <a:defRPr sz="1800">
                <a:latin typeface="+mn-lt"/>
              </a:defRPr>
            </a:lvl4pPr>
            <a:lvl5pPr marL="1427163" indent="-280988">
              <a:lnSpc>
                <a:spcPct val="100000"/>
              </a:lnSpc>
              <a:spcBef>
                <a:spcPts val="900"/>
              </a:spcBef>
              <a:defRPr sz="18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575B51-74F0-48FD-91F1-9967CF225F89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dirty="0">
                <a:solidFill>
                  <a:srgbClr val="000000"/>
                </a:solidFill>
              </a:rPr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88501336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5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633413" indent="-228600">
              <a:lnSpc>
                <a:spcPct val="100000"/>
              </a:lnSpc>
              <a:spcBef>
                <a:spcPts val="900"/>
              </a:spcBef>
              <a:defRPr sz="1400"/>
            </a:lvl4pPr>
            <a:lvl5pPr marL="862013" indent="-228600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35" y="1146178"/>
            <a:ext cx="4234127" cy="479266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5DD33C-F539-4F4D-B25F-4FF52D8F43C6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dirty="0">
                <a:solidFill>
                  <a:srgbClr val="000000"/>
                </a:solidFill>
              </a:rPr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159213165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text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5"/>
            <a:ext cx="4253045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4813" indent="-228600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77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7B54C2-BBED-4D69-B8F1-D9786683EC1B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dirty="0">
                <a:solidFill>
                  <a:srgbClr val="000000"/>
                </a:solidFill>
              </a:rPr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88463497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2 Right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5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571500" indent="-166688">
              <a:lnSpc>
                <a:spcPct val="100000"/>
              </a:lnSpc>
              <a:spcBef>
                <a:spcPts val="900"/>
              </a:spcBef>
              <a:defRPr sz="1400"/>
            </a:lvl4pPr>
            <a:lvl5pPr marL="747713" indent="-176213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35" y="1146177"/>
            <a:ext cx="4234127" cy="229036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48" y="3658263"/>
            <a:ext cx="4234127" cy="229036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A99F9B-AE44-4121-BA87-15998916B0F7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dirty="0">
                <a:solidFill>
                  <a:srgbClr val="000000"/>
                </a:solidFill>
              </a:rPr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370039996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p pictures_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3939739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62134" y="1146178"/>
            <a:ext cx="4234127" cy="258176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48" y="1146178"/>
            <a:ext cx="4234127" cy="258176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/>
          </p:nvPr>
        </p:nvSpPr>
        <p:spPr>
          <a:xfrm>
            <a:off x="5170846" y="3939739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10"/>
          <p:cNvSpPr>
            <a:spLocks noGrp="1"/>
          </p:cNvSpPr>
          <p:nvPr>
            <p:ph type="ftr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763098-7E04-4965-8EDB-B79F3C14B342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dirty="0">
                <a:solidFill>
                  <a:srgbClr val="000000"/>
                </a:solidFill>
              </a:rPr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25619982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22984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48" y="452864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59962" y="452864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751248" y="3266401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159962" y="3266401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739509" y="2953798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180880" y="2953798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757290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5180880" y="5757290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Footer Placeholder 10"/>
          <p:cNvSpPr>
            <a:spLocks noGrp="1"/>
          </p:cNvSpPr>
          <p:nvPr>
            <p:ph type="ftr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7136AA-049E-4A95-B715-D65B0A9E72A9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dirty="0">
                <a:solidFill>
                  <a:srgbClr val="000000"/>
                </a:solidFill>
              </a:rPr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344458273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48" y="452863"/>
            <a:ext cx="8643125" cy="5264649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918058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70A13D-9F95-4EA5-AF6C-E73FA2355AF1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dirty="0">
                <a:solidFill>
                  <a:srgbClr val="000000"/>
                </a:solidFill>
              </a:rPr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336483713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784224" y="1081280"/>
            <a:ext cx="3767328" cy="215443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4773168" y="1081280"/>
            <a:ext cx="3767328" cy="215443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BDF1D0-0152-4D1C-B780-CFC39C53494D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dirty="0">
                <a:solidFill>
                  <a:srgbClr val="000000"/>
                </a:solidFill>
              </a:rPr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302703945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8420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0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4F1B13-0E02-4B64-9E15-F16FB22995B2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dirty="0">
                <a:solidFill>
                  <a:srgbClr val="000000"/>
                </a:solidFill>
              </a:rPr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227871539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Bar_06_COL_POS [Converted]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840" y="3008313"/>
            <a:ext cx="1311275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4"/>
          <p:cNvGrpSpPr>
            <a:grpSpLocks/>
          </p:cNvGrpSpPr>
          <p:nvPr userDrawn="1"/>
        </p:nvGrpSpPr>
        <p:grpSpPr bwMode="auto">
          <a:xfrm>
            <a:off x="2011365" y="2132017"/>
            <a:ext cx="5913437" cy="1965325"/>
            <a:chOff x="1865096" y="985741"/>
            <a:chExt cx="5446206" cy="3557683"/>
          </a:xfrm>
        </p:grpSpPr>
        <p:cxnSp>
          <p:nvCxnSpPr>
            <p:cNvPr id="6" name="Straight Connector 22"/>
            <p:cNvCxnSpPr>
              <a:cxnSpLocks noChangeShapeType="1"/>
            </p:cNvCxnSpPr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23"/>
            <p:cNvCxnSpPr>
              <a:cxnSpLocks noChangeShapeType="1"/>
            </p:cNvCxnSpPr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" name="Footer Placeholder 10"/>
          <p:cNvSpPr txBox="1">
            <a:spLocks/>
          </p:cNvSpPr>
          <p:nvPr userDrawn="1"/>
        </p:nvSpPr>
        <p:spPr bwMode="auto">
          <a:xfrm>
            <a:off x="741363" y="6316663"/>
            <a:ext cx="3136900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>
            <a:lvl1pPr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E03A26A0-AE81-421F-9F26-9B084BCC275D}" type="slidenum">
              <a:rPr lang="en-US" sz="900" b="0" smtClean="0">
                <a:solidFill>
                  <a:srgbClr val="000000"/>
                </a:solidFill>
              </a:rPr>
              <a:pPr>
                <a:spcBef>
                  <a:spcPct val="50000"/>
                </a:spcBef>
                <a:defRPr/>
              </a:pPr>
              <a:t>‹#›</a:t>
            </a:fld>
            <a:r>
              <a:rPr lang="en-US" sz="900" b="0" dirty="0" smtClean="0">
                <a:solidFill>
                  <a:srgbClr val="000000"/>
                </a:solidFill>
              </a:rPr>
              <a:t>   |   Cash Rollout |  19 October 2012</a:t>
            </a:r>
          </a:p>
        </p:txBody>
      </p:sp>
      <p:sp>
        <p:nvSpPr>
          <p:cNvPr id="9" name="TextBox 9"/>
          <p:cNvSpPr txBox="1">
            <a:spLocks noChangeArrowheads="1"/>
          </p:cNvSpPr>
          <p:nvPr userDrawn="1"/>
        </p:nvSpPr>
        <p:spPr bwMode="auto">
          <a:xfrm>
            <a:off x="741365" y="6434142"/>
            <a:ext cx="482758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en-US" sz="900" b="0" dirty="0" smtClean="0">
                <a:solidFill>
                  <a:srgbClr val="000000"/>
                </a:solidFill>
              </a:rPr>
              <a:t>Internal use only</a:t>
            </a:r>
          </a:p>
        </p:txBody>
      </p: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2203916" y="2708193"/>
            <a:ext cx="5343392" cy="492443"/>
          </a:xfrm>
        </p:spPr>
        <p:txBody>
          <a:bodyPr anchor="b"/>
          <a:lstStyle>
            <a:lvl1pPr>
              <a:defRPr sz="32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210026" y="3278942"/>
            <a:ext cx="5336477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364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751553" y="2730723"/>
            <a:ext cx="6818973" cy="461665"/>
          </a:xfrm>
        </p:spPr>
        <p:txBody>
          <a:bodyPr anchor="b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51830" y="3281726"/>
            <a:ext cx="6810149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061784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34"/>
            <a:ext cx="8734821" cy="461665"/>
          </a:xfrm>
        </p:spPr>
        <p:txBody>
          <a:bodyPr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91" y="1096009"/>
            <a:ext cx="8671190" cy="2154436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2000">
                <a:latin typeface="+mn-lt"/>
              </a:defRPr>
            </a:lvl2pPr>
            <a:lvl3pPr marL="571500" indent="-342900">
              <a:defRPr sz="2000">
                <a:latin typeface="+mn-lt"/>
              </a:defRPr>
            </a:lvl3pPr>
            <a:lvl4pPr marL="862013" indent="-290513">
              <a:defRPr sz="2000">
                <a:latin typeface="+mn-lt"/>
              </a:defRPr>
            </a:lvl4pPr>
            <a:lvl5pPr marL="1204913" indent="-342900">
              <a:defRPr sz="20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731896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871335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682" name="Picture 7" descr="Bar_06_COL_POS [Converted]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6" y="3003550"/>
            <a:ext cx="1317625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68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95513" y="2708914"/>
            <a:ext cx="5716588" cy="492443"/>
          </a:xfrm>
        </p:spPr>
        <p:txBody>
          <a:bodyPr/>
          <a:lstStyle>
            <a:lvl1pPr>
              <a:defRPr sz="3200" b="1" smtClean="0"/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7168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95515" y="3179763"/>
            <a:ext cx="5705475" cy="304800"/>
          </a:xfrm>
        </p:spPr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grpSp>
        <p:nvGrpSpPr>
          <p:cNvPr id="71690" name="Group 10"/>
          <p:cNvGrpSpPr>
            <a:grpSpLocks/>
          </p:cNvGrpSpPr>
          <p:nvPr/>
        </p:nvGrpSpPr>
        <p:grpSpPr bwMode="auto">
          <a:xfrm>
            <a:off x="2016127" y="2130429"/>
            <a:ext cx="5899150" cy="1984375"/>
            <a:chOff x="1273" y="621"/>
            <a:chExt cx="3716" cy="2241"/>
          </a:xfrm>
        </p:grpSpPr>
        <p:cxnSp>
          <p:nvCxnSpPr>
            <p:cNvPr id="71688" name="Straight Connector 11"/>
            <p:cNvCxnSpPr>
              <a:cxnSpLocks noChangeShapeType="1"/>
            </p:cNvCxnSpPr>
            <p:nvPr userDrawn="1"/>
          </p:nvCxnSpPr>
          <p:spPr bwMode="auto">
            <a:xfrm rot="16200000" flipH="1">
              <a:off x="152" y="1742"/>
              <a:ext cx="2241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689" name="Straight Connector 12"/>
            <p:cNvCxnSpPr>
              <a:cxnSpLocks noChangeShapeType="1"/>
            </p:cNvCxnSpPr>
            <p:nvPr userDrawn="1"/>
          </p:nvCxnSpPr>
          <p:spPr bwMode="auto">
            <a:xfrm rot="16200000" flipH="1">
              <a:off x="3868" y="1742"/>
              <a:ext cx="2241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59440395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10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8084976"/>
      </p:ext>
    </p:extLst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9" y="160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9" y="160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" hidden="1"/>
          <p:cNvGraphicFramePr>
            <a:graphicFrameLocks noChangeAspect="1"/>
          </p:cNvGraphicFramePr>
          <p:nvPr userDrawn="1"/>
        </p:nvGraphicFramePr>
        <p:xfrm>
          <a:off x="1609" y="160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9" y="160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7" descr="Bar_06_COL_POS [Converted]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83" y="6411913"/>
            <a:ext cx="1298575" cy="220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Line 32"/>
          <p:cNvSpPr>
            <a:spLocks noChangeShapeType="1"/>
          </p:cNvSpPr>
          <p:nvPr/>
        </p:nvSpPr>
        <p:spPr bwMode="auto">
          <a:xfrm>
            <a:off x="735035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3600" b="0">
              <a:solidFill>
                <a:srgbClr val="00AEEF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10" name="Picture 6" descr="Bar_06_COL_POS [Converted]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83" y="6411913"/>
            <a:ext cx="1298575" cy="220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Line 32"/>
          <p:cNvSpPr>
            <a:spLocks noChangeShapeType="1"/>
          </p:cNvSpPr>
          <p:nvPr userDrawn="1"/>
        </p:nvSpPr>
        <p:spPr bwMode="auto">
          <a:xfrm>
            <a:off x="735035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3600" b="0">
              <a:solidFill>
                <a:srgbClr val="00AEEF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2" name="Footer Placeholder 10"/>
          <p:cNvSpPr txBox="1">
            <a:spLocks/>
          </p:cNvSpPr>
          <p:nvPr userDrawn="1"/>
        </p:nvSpPr>
        <p:spPr bwMode="auto">
          <a:xfrm>
            <a:off x="741369" y="6286154"/>
            <a:ext cx="370681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fld id="{514AD3F3-BF92-474F-A7B3-FB14B36063ED}" type="slidenum">
              <a:rPr lang="en-GB" sz="900" b="0">
                <a:solidFill>
                  <a:srgbClr val="000000"/>
                </a:solidFill>
                <a:latin typeface="Expert Sans Regular" pitchFamily="34" charset="0"/>
                <a:cs typeface="+mn-cs"/>
              </a:rPr>
              <a:pPr eaLnBrk="1" hangingPunct="1">
                <a:spcBef>
                  <a:spcPct val="50000"/>
                </a:spcBef>
              </a:pPr>
              <a:t>‹#›</a:t>
            </a:fld>
            <a:r>
              <a:rPr lang="en-GB" sz="900" b="0" dirty="0">
                <a:solidFill>
                  <a:srgbClr val="000000"/>
                </a:solidFill>
                <a:latin typeface="Expert Sans Regular" pitchFamily="34" charset="0"/>
                <a:cs typeface="+mn-cs"/>
              </a:rPr>
              <a:t> | </a:t>
            </a:r>
            <a:r>
              <a:rPr lang="en-GB" sz="900" b="0" dirty="0" smtClean="0">
                <a:solidFill>
                  <a:srgbClr val="000000"/>
                </a:solidFill>
                <a:latin typeface="Expert Sans Regular" pitchFamily="34" charset="0"/>
                <a:cs typeface="+mn-cs"/>
              </a:rPr>
              <a:t>PCB Tooling Automation | January 2015</a:t>
            </a:r>
            <a:endParaRPr lang="en-GB" sz="900" b="0" dirty="0">
              <a:solidFill>
                <a:srgbClr val="000000"/>
              </a:solidFill>
              <a:latin typeface="Expert Sans Regular" pitchFamily="34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99" y="188640"/>
            <a:ext cx="8712000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4999" y="834652"/>
            <a:ext cx="8712000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sz="1400" b="1">
                <a:latin typeface="+mn-lt"/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latin typeface="+mn-lt"/>
              </a:defRPr>
            </a:lvl2pPr>
            <a:lvl3pPr marL="571294" indent="-342776">
              <a:spcBef>
                <a:spcPts val="300"/>
              </a:spcBef>
              <a:spcAft>
                <a:spcPts val="300"/>
              </a:spcAft>
              <a:defRPr sz="1400">
                <a:latin typeface="+mn-lt"/>
              </a:defRPr>
            </a:lvl3pPr>
            <a:lvl4pPr marL="861703" indent="-290409">
              <a:spcBef>
                <a:spcPts val="300"/>
              </a:spcBef>
              <a:spcAft>
                <a:spcPts val="300"/>
              </a:spcAft>
              <a:defRPr sz="1400">
                <a:latin typeface="+mn-lt"/>
              </a:defRPr>
            </a:lvl4pPr>
            <a:lvl5pPr marL="1204479" indent="-342776">
              <a:spcBef>
                <a:spcPts val="300"/>
              </a:spcBef>
              <a:spcAft>
                <a:spcPts val="3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754999" y="1268760"/>
            <a:ext cx="8712000" cy="2138974"/>
          </a:xfrm>
          <a:prstGeom prst="rect">
            <a:avLst/>
          </a:prstGeom>
        </p:spPr>
        <p:txBody>
          <a:bodyPr/>
          <a:lstStyle>
            <a:lvl1pPr>
              <a:spcBef>
                <a:spcPts val="300"/>
              </a:spcBef>
              <a:spcAft>
                <a:spcPts val="300"/>
              </a:spcAft>
              <a:defRPr sz="1400">
                <a:latin typeface="+mn-lt"/>
              </a:defRPr>
            </a:lvl1pPr>
            <a:lvl2pPr marL="180975" indent="-180975">
              <a:spcBef>
                <a:spcPts val="300"/>
              </a:spcBef>
              <a:spcAft>
                <a:spcPts val="300"/>
              </a:spcAft>
              <a:defRPr sz="1400">
                <a:latin typeface="+mn-lt"/>
              </a:defRPr>
            </a:lvl2pPr>
            <a:lvl3pPr marL="446088" indent="-217488">
              <a:spcBef>
                <a:spcPts val="300"/>
              </a:spcBef>
              <a:spcAft>
                <a:spcPts val="300"/>
              </a:spcAft>
              <a:defRPr sz="1400">
                <a:latin typeface="+mn-lt"/>
              </a:defRPr>
            </a:lvl3pPr>
            <a:lvl4pPr marL="627063" indent="-180975">
              <a:spcBef>
                <a:spcPts val="300"/>
              </a:spcBef>
              <a:spcAft>
                <a:spcPts val="300"/>
              </a:spcAft>
              <a:defRPr sz="1400">
                <a:latin typeface="+mn-lt"/>
              </a:defRPr>
            </a:lvl4pPr>
            <a:lvl5pPr marL="808038" indent="-180975">
              <a:spcBef>
                <a:spcPts val="300"/>
              </a:spcBef>
              <a:spcAft>
                <a:spcPts val="3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211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9" y="160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9" y="160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2" hidden="1"/>
          <p:cNvGraphicFramePr>
            <a:graphicFrameLocks noChangeAspect="1"/>
          </p:cNvGraphicFramePr>
          <p:nvPr userDrawn="1"/>
        </p:nvGraphicFramePr>
        <p:xfrm>
          <a:off x="1609" y="160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9" y="160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Bar_06_COL_POS [Converted]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83" y="6411913"/>
            <a:ext cx="1298575" cy="220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Line 32"/>
          <p:cNvSpPr>
            <a:spLocks noChangeShapeType="1"/>
          </p:cNvSpPr>
          <p:nvPr/>
        </p:nvSpPr>
        <p:spPr bwMode="auto">
          <a:xfrm>
            <a:off x="735035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3600" b="0">
              <a:solidFill>
                <a:srgbClr val="00AEEF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graphicFrame>
        <p:nvGraphicFramePr>
          <p:cNvPr id="8" name="Object 6" hidden="1"/>
          <p:cNvGraphicFramePr>
            <a:graphicFrameLocks noChangeAspect="1"/>
          </p:cNvGraphicFramePr>
          <p:nvPr userDrawn="1"/>
        </p:nvGraphicFramePr>
        <p:xfrm>
          <a:off x="1609" y="160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9" y="160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54999" y="383793"/>
            <a:ext cx="8734821" cy="461665"/>
          </a:xfrm>
          <a:prstGeom prst="rect">
            <a:avLst/>
          </a:prstGeom>
        </p:spPr>
        <p:txBody>
          <a:bodyPr/>
          <a:lstStyle>
            <a:lvl1pPr>
              <a:defRPr sz="28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Footer Placeholder 10"/>
          <p:cNvSpPr txBox="1">
            <a:spLocks/>
          </p:cNvSpPr>
          <p:nvPr userDrawn="1"/>
        </p:nvSpPr>
        <p:spPr bwMode="auto">
          <a:xfrm>
            <a:off x="741369" y="6286154"/>
            <a:ext cx="370681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fld id="{514AD3F3-BF92-474F-A7B3-FB14B36063ED}" type="slidenum">
              <a:rPr lang="en-GB" sz="900" b="0" smtClean="0">
                <a:solidFill>
                  <a:srgbClr val="000000"/>
                </a:solidFill>
                <a:latin typeface="Expert Sans Regular" pitchFamily="34" charset="0"/>
                <a:cs typeface="+mn-cs"/>
              </a:rPr>
              <a:pPr eaLnBrk="1" hangingPunct="1">
                <a:spcBef>
                  <a:spcPct val="50000"/>
                </a:spcBef>
              </a:pPr>
              <a:t>‹#›</a:t>
            </a:fld>
            <a:r>
              <a:rPr lang="en-GB" sz="900" b="0" dirty="0" smtClean="0">
                <a:solidFill>
                  <a:srgbClr val="000000"/>
                </a:solidFill>
                <a:latin typeface="Expert Sans Regular" pitchFamily="34" charset="0"/>
                <a:cs typeface="+mn-cs"/>
              </a:rPr>
              <a:t> | PCB Tooling Automation | January 2015</a:t>
            </a:r>
            <a:endParaRPr lang="en-GB" sz="900" b="0" dirty="0">
              <a:solidFill>
                <a:srgbClr val="000000"/>
              </a:solidFill>
              <a:latin typeface="Expert Sans Regular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1036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09" y="160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9" y="160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9" descr="Bar_06_COL_POS [Converted]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841" y="3008313"/>
            <a:ext cx="1311275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4"/>
          <p:cNvGrpSpPr>
            <a:grpSpLocks/>
          </p:cNvGrpSpPr>
          <p:nvPr/>
        </p:nvGrpSpPr>
        <p:grpSpPr bwMode="auto">
          <a:xfrm>
            <a:off x="1125538" y="2133640"/>
            <a:ext cx="6759575" cy="1965325"/>
            <a:chOff x="1865096" y="985741"/>
            <a:chExt cx="5446206" cy="3557683"/>
          </a:xfrm>
        </p:grpSpPr>
        <p:cxnSp>
          <p:nvCxnSpPr>
            <p:cNvPr id="7" name="Straight Connector 22"/>
            <p:cNvCxnSpPr>
              <a:cxnSpLocks noChangeShapeType="1"/>
            </p:cNvCxnSpPr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23"/>
            <p:cNvCxnSpPr>
              <a:cxnSpLocks noChangeShapeType="1"/>
            </p:cNvCxnSpPr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1429443" y="2709931"/>
            <a:ext cx="5343392" cy="492443"/>
          </a:xfrm>
          <a:prstGeom prst="rect">
            <a:avLst/>
          </a:prstGeom>
        </p:spPr>
        <p:txBody>
          <a:bodyPr anchor="b"/>
          <a:lstStyle>
            <a:lvl1pPr>
              <a:defRPr sz="32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45040" y="3278943"/>
            <a:ext cx="5336477" cy="307777"/>
          </a:xfrm>
          <a:prstGeom prst="rect">
            <a:avLst/>
          </a:prstGeo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906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White Title B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0"/>
            <a:ext cx="3279775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75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14353" y="2768603"/>
            <a:ext cx="7772400" cy="1470025"/>
          </a:xfrm>
        </p:spPr>
        <p:txBody>
          <a:bodyPr/>
          <a:lstStyle>
            <a:lvl1pPr>
              <a:defRPr sz="2400">
                <a:latin typeface="Expert Humanist Black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475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3880" y="5153035"/>
            <a:ext cx="6400800" cy="1533525"/>
          </a:xfr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pic>
        <p:nvPicPr>
          <p:cNvPr id="5" name="Picture 2" descr="White Title B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1"/>
            <a:ext cx="3019644" cy="100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White Title B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84" b="-14384"/>
          <a:stretch/>
        </p:blipFill>
        <p:spPr bwMode="auto">
          <a:xfrm>
            <a:off x="0" y="1"/>
            <a:ext cx="3019644" cy="100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35303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34520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4" y="440691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4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11170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3" y="1974850"/>
            <a:ext cx="4143375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6775" y="1974850"/>
            <a:ext cx="4143375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53476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78478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55189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87628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2752" y="1974850"/>
            <a:ext cx="4494213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59363" y="1974850"/>
            <a:ext cx="4495800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3578365"/>
      </p:ext>
    </p:extLst>
  </p:cSld>
  <p:clrMapOvr>
    <a:masterClrMapping/>
  </p:clrMapOvr>
  <p:transition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13675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93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93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93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04449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69143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15125" y="1160469"/>
            <a:ext cx="2114550" cy="52609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71475" y="1160469"/>
            <a:ext cx="6191250" cy="52609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43146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r_06_COL_POS [Converted]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098483" y="3007917"/>
            <a:ext cx="1309851" cy="222742"/>
          </a:xfrm>
          <a:prstGeom prst="rect">
            <a:avLst/>
          </a:prstGeom>
        </p:spPr>
      </p:pic>
      <p:grpSp>
        <p:nvGrpSpPr>
          <p:cNvPr id="15" name="Group 14"/>
          <p:cNvGrpSpPr/>
          <p:nvPr userDrawn="1"/>
        </p:nvGrpSpPr>
        <p:grpSpPr>
          <a:xfrm>
            <a:off x="784216" y="2132016"/>
            <a:ext cx="7140598" cy="1965960"/>
            <a:chOff x="1865096" y="985741"/>
            <a:chExt cx="5446206" cy="3557683"/>
          </a:xfrm>
        </p:grpSpPr>
        <p:cxnSp>
          <p:nvCxnSpPr>
            <p:cNvPr id="23" name="Straight Connector 22"/>
            <p:cNvCxnSpPr/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" name="Straight Connector 23"/>
            <p:cNvCxnSpPr/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966185" y="2701058"/>
            <a:ext cx="6604343" cy="492443"/>
          </a:xfrm>
        </p:spPr>
        <p:txBody>
          <a:bodyPr anchor="b" anchorCtr="0"/>
          <a:lstStyle>
            <a:lvl1pPr>
              <a:defRPr sz="32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966183" y="3273508"/>
            <a:ext cx="6595797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3217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81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81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2073817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6365154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5877802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9174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5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499" y="273060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5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8584074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5413622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1939860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75517" y="1160469"/>
            <a:ext cx="2290763" cy="52609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3224" y="1160469"/>
            <a:ext cx="6719889" cy="52609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1659154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White Title B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0"/>
            <a:ext cx="3279775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57213" y="2768603"/>
            <a:ext cx="8420100" cy="1470025"/>
          </a:xfrm>
        </p:spPr>
        <p:txBody>
          <a:bodyPr/>
          <a:lstStyle>
            <a:lvl1pPr>
              <a:defRPr sz="2400">
                <a:latin typeface="Expert Humanist Black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67531" y="5153036"/>
            <a:ext cx="6934200" cy="1533525"/>
          </a:xfr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60567189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3074822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9307736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2756" y="1974850"/>
            <a:ext cx="4488656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6509" y="1974850"/>
            <a:ext cx="4488656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9556670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228858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2594807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4" y="440691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4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25776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2080956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6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8395535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4384503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093970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74724" y="1160469"/>
            <a:ext cx="2290763" cy="52609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2431" y="1160469"/>
            <a:ext cx="6707188" cy="52609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1532743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03589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Bar_06_COL_POS [Converted]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841" y="3008313"/>
            <a:ext cx="1311275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8"/>
          <p:cNvGrpSpPr>
            <a:grpSpLocks/>
          </p:cNvGrpSpPr>
          <p:nvPr userDrawn="1"/>
        </p:nvGrpSpPr>
        <p:grpSpPr bwMode="auto">
          <a:xfrm>
            <a:off x="784225" y="2132023"/>
            <a:ext cx="7140575" cy="1965325"/>
            <a:chOff x="1865096" y="985741"/>
            <a:chExt cx="5446206" cy="3557683"/>
          </a:xfrm>
        </p:grpSpPr>
        <p:cxnSp>
          <p:nvCxnSpPr>
            <p:cNvPr id="6" name="Straight Connector 9"/>
            <p:cNvCxnSpPr>
              <a:cxnSpLocks noChangeShapeType="1"/>
            </p:cNvCxnSpPr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11"/>
            <p:cNvCxnSpPr>
              <a:cxnSpLocks noChangeShapeType="1"/>
            </p:cNvCxnSpPr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094668" y="438150"/>
            <a:ext cx="137318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000" b="0" dirty="0" smtClean="0">
                <a:solidFill>
                  <a:srgbClr val="00AEEF"/>
                </a:solidFill>
              </a:rPr>
              <a:t>Signposting</a:t>
            </a:r>
          </a:p>
        </p:txBody>
      </p: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966189" y="2701058"/>
            <a:ext cx="6604343" cy="492443"/>
          </a:xfrm>
        </p:spPr>
        <p:txBody>
          <a:bodyPr anchor="b"/>
          <a:lstStyle>
            <a:lvl1pPr>
              <a:defRPr sz="32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66186" y="3273508"/>
            <a:ext cx="6595797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24978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Bar_06_COL_POS [Converted]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841" y="3008313"/>
            <a:ext cx="1311275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4"/>
          <p:cNvGrpSpPr>
            <a:grpSpLocks/>
          </p:cNvGrpSpPr>
          <p:nvPr userDrawn="1"/>
        </p:nvGrpSpPr>
        <p:grpSpPr bwMode="auto">
          <a:xfrm>
            <a:off x="2011368" y="2132023"/>
            <a:ext cx="5913437" cy="1965325"/>
            <a:chOff x="1865096" y="985741"/>
            <a:chExt cx="5446206" cy="3557683"/>
          </a:xfrm>
        </p:grpSpPr>
        <p:cxnSp>
          <p:nvCxnSpPr>
            <p:cNvPr id="6" name="Straight Connector 9"/>
            <p:cNvCxnSpPr>
              <a:cxnSpLocks noChangeShapeType="1"/>
            </p:cNvCxnSpPr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11"/>
            <p:cNvCxnSpPr>
              <a:cxnSpLocks noChangeShapeType="1"/>
            </p:cNvCxnSpPr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2203916" y="2708206"/>
            <a:ext cx="5343392" cy="492443"/>
          </a:xfrm>
        </p:spPr>
        <p:txBody>
          <a:bodyPr anchor="b"/>
          <a:lstStyle>
            <a:lvl1pPr>
              <a:defRPr sz="32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210031" y="3278942"/>
            <a:ext cx="5336477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6217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Bar_06_COL_POS [Converted]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8" y="6410335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751559" y="2730733"/>
            <a:ext cx="6818973" cy="461665"/>
          </a:xfrm>
        </p:spPr>
        <p:txBody>
          <a:bodyPr anchor="b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51836" y="3273325"/>
            <a:ext cx="6810149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4746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751559" y="2730733"/>
            <a:ext cx="6818973" cy="461665"/>
          </a:xfrm>
        </p:spPr>
        <p:txBody>
          <a:bodyPr anchor="b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51836" y="3281727"/>
            <a:ext cx="6810149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GB" dirty="0"/>
              <a:t>‹#›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7204346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3" y="1974850"/>
            <a:ext cx="4143375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6775" y="1974850"/>
            <a:ext cx="4143375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70488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44"/>
            <a:ext cx="8734821" cy="461665"/>
          </a:xfrm>
        </p:spPr>
        <p:txBody>
          <a:bodyPr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91" y="1096009"/>
            <a:ext cx="8671190" cy="2154436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2000">
                <a:latin typeface="+mn-lt"/>
              </a:defRPr>
            </a:lvl2pPr>
            <a:lvl3pPr marL="571500" indent="-342900">
              <a:defRPr sz="2000">
                <a:latin typeface="+mn-lt"/>
              </a:defRPr>
            </a:lvl3pPr>
            <a:lvl4pPr marL="862013" indent="-290513">
              <a:defRPr sz="2000">
                <a:latin typeface="+mn-lt"/>
              </a:defRPr>
            </a:lvl4pPr>
            <a:lvl5pPr marL="1204913" indent="-342900">
              <a:defRPr sz="20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5D6D362-95AA-477C-9B8D-772C13EA69C4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22167086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umbered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44"/>
            <a:ext cx="8734821" cy="461665"/>
          </a:xfrm>
        </p:spPr>
        <p:txBody>
          <a:bodyPr anchor="t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91" y="1096009"/>
            <a:ext cx="8671190" cy="1938992"/>
          </a:xfrm>
        </p:spPr>
        <p:txBody>
          <a:bodyPr/>
          <a:lstStyle>
            <a:lvl1pPr marL="341313" indent="-341313">
              <a:lnSpc>
                <a:spcPct val="100000"/>
              </a:lnSpc>
              <a:spcBef>
                <a:spcPts val="900"/>
              </a:spcBef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+mn-lt"/>
              </a:defRPr>
            </a:lvl1pPr>
            <a:lvl2pPr marL="682625" indent="-341313">
              <a:lnSpc>
                <a:spcPct val="100000"/>
              </a:lnSpc>
              <a:spcBef>
                <a:spcPts val="900"/>
              </a:spcBef>
              <a:buFont typeface="+mj-lt"/>
              <a:buAutoNum type="alphaLcPeriod"/>
              <a:defRPr sz="2000">
                <a:latin typeface="+mn-lt"/>
              </a:defRPr>
            </a:lvl2pPr>
            <a:lvl3pPr marL="1025525" indent="-333375">
              <a:lnSpc>
                <a:spcPct val="100000"/>
              </a:lnSpc>
              <a:spcBef>
                <a:spcPts val="900"/>
              </a:spcBef>
              <a:defRPr sz="2000">
                <a:latin typeface="+mn-lt"/>
              </a:defRPr>
            </a:lvl3pPr>
            <a:lvl4pPr marL="1146175" indent="-231775">
              <a:lnSpc>
                <a:spcPct val="100000"/>
              </a:lnSpc>
              <a:spcBef>
                <a:spcPts val="900"/>
              </a:spcBef>
              <a:defRPr sz="1800">
                <a:latin typeface="+mn-lt"/>
              </a:defRPr>
            </a:lvl4pPr>
            <a:lvl5pPr marL="1427163" indent="-280988">
              <a:lnSpc>
                <a:spcPct val="100000"/>
              </a:lnSpc>
              <a:spcBef>
                <a:spcPts val="900"/>
              </a:spcBef>
              <a:defRPr sz="18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7B3D05F-ADF1-47CC-8DCF-945D30642116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311696569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6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633413" indent="-228600">
              <a:lnSpc>
                <a:spcPct val="100000"/>
              </a:lnSpc>
              <a:spcBef>
                <a:spcPts val="900"/>
              </a:spcBef>
              <a:defRPr sz="1400"/>
            </a:lvl4pPr>
            <a:lvl5pPr marL="862013" indent="-228600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42" y="1146179"/>
            <a:ext cx="4234127" cy="479266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DFFB628D-5A09-4CF7-838C-F7BA7CBAC493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16846245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text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6"/>
            <a:ext cx="4253045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4813" indent="-228600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77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6915545-BF4A-4479-A0F8-C801C3D930C3}" type="slidenum">
              <a:rPr/>
              <a:pPr>
                <a:defRPr/>
              </a:pPr>
              <a:t>‹#›</a:t>
            </a:fld>
            <a:r>
              <a:rPr dirty="0"/>
              <a:t>  </a:t>
            </a:r>
            <a:r>
              <a:rPr lang="en-GB" dirty="0"/>
              <a:t>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35837078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2 Right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6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571500" indent="-166688">
              <a:lnSpc>
                <a:spcPct val="100000"/>
              </a:lnSpc>
              <a:spcBef>
                <a:spcPts val="900"/>
              </a:spcBef>
              <a:defRPr sz="1400"/>
            </a:lvl4pPr>
            <a:lvl5pPr marL="747713" indent="-176213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42" y="1146191"/>
            <a:ext cx="4234127" cy="229036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56" y="3658277"/>
            <a:ext cx="4234127" cy="229036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4D4BC28-A303-4A99-9779-4FDD819F9599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8149257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p pictures_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3939753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62142" y="1146192"/>
            <a:ext cx="4234127" cy="258176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56" y="1146192"/>
            <a:ext cx="4234127" cy="258176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/>
          </p:nvPr>
        </p:nvSpPr>
        <p:spPr>
          <a:xfrm>
            <a:off x="5170846" y="3939753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10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AB487F8-AC39-41C2-84D6-324FE6731841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32687548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55" y="452878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59969" y="452878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751255" y="3266415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159969" y="3266415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739509" y="2953812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180880" y="2953812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757304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5180880" y="5757304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Footer Placeholder 10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F5A90BA-A380-4B7D-B71E-972D4D47DCB1}" type="slidenum">
              <a:rPr/>
              <a:pPr>
                <a:defRPr/>
              </a:pPr>
              <a:t>‹#›</a:t>
            </a:fld>
            <a:r>
              <a:rPr dirty="0"/>
              <a:t>  </a:t>
            </a:r>
            <a:r>
              <a:rPr lang="en-GB" dirty="0"/>
              <a:t>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305385994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55" y="452877"/>
            <a:ext cx="8643125" cy="5264649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918072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A7D9448F-D1A3-49E3-A475-3F0F5ACCA98C}" type="slidenum">
              <a:rPr/>
              <a:pPr>
                <a:defRPr/>
              </a:pPr>
              <a:t>‹#›</a:t>
            </a:fld>
            <a:r>
              <a:rPr dirty="0"/>
              <a:t>   </a:t>
            </a:r>
            <a:r>
              <a:rPr lang="en-GB" dirty="0"/>
              <a:t>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313787119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784228" y="1081280"/>
            <a:ext cx="3767329" cy="215443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4773174" y="1081280"/>
            <a:ext cx="3767329" cy="215443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b="1"/>
            </a:lvl1pPr>
          </a:lstStyle>
          <a:p>
            <a:pPr>
              <a:defRPr/>
            </a:pPr>
            <a:fld id="{5D419AE1-180D-44EF-9354-1AF60BFA3B81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123117625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3367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20257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65F2697E-1B12-4834-BF67-ECC8223C6D9A}" type="slidenum">
              <a:rPr/>
              <a:pPr>
                <a:defRPr/>
              </a:pPr>
              <a:t>‹#›</a:t>
            </a:fld>
            <a:r>
              <a:rPr dirty="0"/>
              <a:t>  </a:t>
            </a:r>
            <a:r>
              <a:rPr lang="en-GB" dirty="0"/>
              <a:t>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114149796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01673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Bar_06_COL_POS [Converted]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841" y="3008313"/>
            <a:ext cx="1311275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8"/>
          <p:cNvGrpSpPr>
            <a:grpSpLocks/>
          </p:cNvGrpSpPr>
          <p:nvPr userDrawn="1"/>
        </p:nvGrpSpPr>
        <p:grpSpPr bwMode="auto">
          <a:xfrm>
            <a:off x="784225" y="2132023"/>
            <a:ext cx="7140575" cy="1965325"/>
            <a:chOff x="1865096" y="985741"/>
            <a:chExt cx="5446206" cy="3557683"/>
          </a:xfrm>
        </p:grpSpPr>
        <p:cxnSp>
          <p:nvCxnSpPr>
            <p:cNvPr id="6" name="Straight Connector 9"/>
            <p:cNvCxnSpPr>
              <a:cxnSpLocks noChangeShapeType="1"/>
            </p:cNvCxnSpPr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11"/>
            <p:cNvCxnSpPr>
              <a:cxnSpLocks noChangeShapeType="1"/>
            </p:cNvCxnSpPr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094668" y="438150"/>
            <a:ext cx="137318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000" b="0" dirty="0" smtClean="0">
                <a:solidFill>
                  <a:srgbClr val="00AEEF"/>
                </a:solidFill>
              </a:rPr>
              <a:t>Signposting</a:t>
            </a:r>
          </a:p>
        </p:txBody>
      </p: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966189" y="2701058"/>
            <a:ext cx="6604343" cy="492443"/>
          </a:xfrm>
        </p:spPr>
        <p:txBody>
          <a:bodyPr anchor="b"/>
          <a:lstStyle>
            <a:lvl1pPr>
              <a:defRPr sz="32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66186" y="3273508"/>
            <a:ext cx="6595797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05327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Bar_06_COL_POS [Converted]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841" y="3008313"/>
            <a:ext cx="1311275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4"/>
          <p:cNvGrpSpPr>
            <a:grpSpLocks/>
          </p:cNvGrpSpPr>
          <p:nvPr userDrawn="1"/>
        </p:nvGrpSpPr>
        <p:grpSpPr bwMode="auto">
          <a:xfrm>
            <a:off x="2011368" y="2132023"/>
            <a:ext cx="5913437" cy="1965325"/>
            <a:chOff x="1865096" y="985741"/>
            <a:chExt cx="5446206" cy="3557683"/>
          </a:xfrm>
        </p:grpSpPr>
        <p:cxnSp>
          <p:nvCxnSpPr>
            <p:cNvPr id="6" name="Straight Connector 9"/>
            <p:cNvCxnSpPr>
              <a:cxnSpLocks noChangeShapeType="1"/>
            </p:cNvCxnSpPr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11"/>
            <p:cNvCxnSpPr>
              <a:cxnSpLocks noChangeShapeType="1"/>
            </p:cNvCxnSpPr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2203916" y="2708206"/>
            <a:ext cx="5343392" cy="492443"/>
          </a:xfrm>
        </p:spPr>
        <p:txBody>
          <a:bodyPr anchor="b"/>
          <a:lstStyle>
            <a:lvl1pPr>
              <a:defRPr sz="32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210031" y="3278942"/>
            <a:ext cx="5336477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80178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Bar_06_COL_POS [Converted]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8" y="6410335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751559" y="2730733"/>
            <a:ext cx="6818973" cy="461665"/>
          </a:xfrm>
        </p:spPr>
        <p:txBody>
          <a:bodyPr anchor="b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51836" y="3273325"/>
            <a:ext cx="6810149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543156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751559" y="2730733"/>
            <a:ext cx="6818973" cy="461665"/>
          </a:xfrm>
        </p:spPr>
        <p:txBody>
          <a:bodyPr anchor="b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51836" y="3281727"/>
            <a:ext cx="6810149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GB" dirty="0"/>
              <a:t>‹#›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351613965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44"/>
            <a:ext cx="8734821" cy="461665"/>
          </a:xfrm>
        </p:spPr>
        <p:txBody>
          <a:bodyPr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91" y="1096009"/>
            <a:ext cx="8671190" cy="2154436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2000">
                <a:latin typeface="+mn-lt"/>
              </a:defRPr>
            </a:lvl2pPr>
            <a:lvl3pPr marL="571500" indent="-342900">
              <a:defRPr sz="2000">
                <a:latin typeface="+mn-lt"/>
              </a:defRPr>
            </a:lvl3pPr>
            <a:lvl4pPr marL="862013" indent="-290513">
              <a:defRPr sz="2000">
                <a:latin typeface="+mn-lt"/>
              </a:defRPr>
            </a:lvl4pPr>
            <a:lvl5pPr marL="1204913" indent="-342900">
              <a:defRPr sz="20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6F010AAF-7A8B-4E8D-B2CF-0B10B2F398EA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219136686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umbered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44"/>
            <a:ext cx="8734821" cy="461665"/>
          </a:xfrm>
        </p:spPr>
        <p:txBody>
          <a:bodyPr anchor="t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91" y="1096009"/>
            <a:ext cx="8671190" cy="1938992"/>
          </a:xfrm>
        </p:spPr>
        <p:txBody>
          <a:bodyPr/>
          <a:lstStyle>
            <a:lvl1pPr marL="341313" indent="-341313">
              <a:lnSpc>
                <a:spcPct val="100000"/>
              </a:lnSpc>
              <a:spcBef>
                <a:spcPts val="900"/>
              </a:spcBef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+mn-lt"/>
              </a:defRPr>
            </a:lvl1pPr>
            <a:lvl2pPr marL="682625" indent="-341313">
              <a:lnSpc>
                <a:spcPct val="100000"/>
              </a:lnSpc>
              <a:spcBef>
                <a:spcPts val="900"/>
              </a:spcBef>
              <a:buFont typeface="+mj-lt"/>
              <a:buAutoNum type="alphaLcPeriod"/>
              <a:defRPr sz="2000">
                <a:latin typeface="+mn-lt"/>
              </a:defRPr>
            </a:lvl2pPr>
            <a:lvl3pPr marL="1025525" indent="-333375">
              <a:lnSpc>
                <a:spcPct val="100000"/>
              </a:lnSpc>
              <a:spcBef>
                <a:spcPts val="900"/>
              </a:spcBef>
              <a:defRPr sz="2000">
                <a:latin typeface="+mn-lt"/>
              </a:defRPr>
            </a:lvl3pPr>
            <a:lvl4pPr marL="1146175" indent="-231775">
              <a:lnSpc>
                <a:spcPct val="100000"/>
              </a:lnSpc>
              <a:spcBef>
                <a:spcPts val="900"/>
              </a:spcBef>
              <a:defRPr sz="1800">
                <a:latin typeface="+mn-lt"/>
              </a:defRPr>
            </a:lvl4pPr>
            <a:lvl5pPr marL="1427163" indent="-280988">
              <a:lnSpc>
                <a:spcPct val="100000"/>
              </a:lnSpc>
              <a:spcBef>
                <a:spcPts val="900"/>
              </a:spcBef>
              <a:defRPr sz="18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4EE6061D-E8A4-4A21-B821-9AAC612DCA3E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339982099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6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633413" indent="-228600">
              <a:lnSpc>
                <a:spcPct val="100000"/>
              </a:lnSpc>
              <a:spcBef>
                <a:spcPts val="900"/>
              </a:spcBef>
              <a:defRPr sz="1400"/>
            </a:lvl4pPr>
            <a:lvl5pPr marL="862013" indent="-228600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42" y="1146179"/>
            <a:ext cx="4234127" cy="479266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6B9B482-0EA4-431C-8742-FE8ACC4E961F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170986906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text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6"/>
            <a:ext cx="4253045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4813" indent="-228600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77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2EB6431-B7F0-4966-8737-87839B52C20F}" type="slidenum">
              <a:rPr/>
              <a:pPr>
                <a:defRPr/>
              </a:pPr>
              <a:t>‹#›</a:t>
            </a:fld>
            <a:r>
              <a:rPr dirty="0"/>
              <a:t>  </a:t>
            </a:r>
            <a:r>
              <a:rPr lang="en-GB" dirty="0"/>
              <a:t>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29603314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47547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2 Right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6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571500" indent="-166688">
              <a:lnSpc>
                <a:spcPct val="100000"/>
              </a:lnSpc>
              <a:spcBef>
                <a:spcPts val="900"/>
              </a:spcBef>
              <a:defRPr sz="1400"/>
            </a:lvl4pPr>
            <a:lvl5pPr marL="747713" indent="-176213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42" y="1146191"/>
            <a:ext cx="4234127" cy="229036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56" y="3658277"/>
            <a:ext cx="4234127" cy="229036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83B15D43-B6D6-4F26-9B12-3DF779971DF7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184003863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p pictures_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3939753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62142" y="1146192"/>
            <a:ext cx="4234127" cy="258176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56" y="1146192"/>
            <a:ext cx="4234127" cy="258176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/>
          </p:nvPr>
        </p:nvSpPr>
        <p:spPr>
          <a:xfrm>
            <a:off x="5170846" y="3939753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10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6E38E7E-B914-47D4-B1F2-2CBAD55C8527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64072951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55" y="452878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59969" y="452878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751255" y="3266415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159969" y="3266415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739509" y="2953812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180880" y="2953812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757304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5180880" y="5757304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Footer Placeholder 10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897E61F-2E68-4406-A724-22B7B5C55060}" type="slidenum">
              <a:rPr/>
              <a:pPr>
                <a:defRPr/>
              </a:pPr>
              <a:t>‹#›</a:t>
            </a:fld>
            <a:r>
              <a:rPr dirty="0"/>
              <a:t>  </a:t>
            </a:r>
            <a:r>
              <a:rPr lang="en-GB" dirty="0"/>
              <a:t>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4479253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55" y="452877"/>
            <a:ext cx="8643125" cy="5264649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918072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5989AC2-EE57-4BEC-A8AD-856E16C232B8}" type="slidenum">
              <a:rPr/>
              <a:pPr>
                <a:defRPr/>
              </a:pPr>
              <a:t>‹#›</a:t>
            </a:fld>
            <a:r>
              <a:rPr dirty="0"/>
              <a:t>   </a:t>
            </a:r>
            <a:r>
              <a:rPr lang="en-GB" dirty="0"/>
              <a:t>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23580564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784228" y="1081280"/>
            <a:ext cx="3767329" cy="215443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4773174" y="1081280"/>
            <a:ext cx="3767329" cy="215443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b="1"/>
            </a:lvl1pPr>
          </a:lstStyle>
          <a:p>
            <a:pPr>
              <a:defRPr/>
            </a:pPr>
            <a:fld id="{8C37A56E-F712-4E8A-A8C6-B4ACDC47DC4D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162937724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54471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B9FE9FB-759B-4B0D-99BE-676229739721}" type="slidenum">
              <a:rPr/>
              <a:pPr>
                <a:defRPr/>
              </a:pPr>
              <a:t>‹#›</a:t>
            </a:fld>
            <a:r>
              <a:rPr dirty="0"/>
              <a:t>  </a:t>
            </a:r>
            <a:r>
              <a:rPr lang="en-GB" dirty="0"/>
              <a:t>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397977933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Bar_06_COL_POS [Converted]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8" y="6410335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Bar_06_COL_POS [Converted]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8" y="6410335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Line 32"/>
          <p:cNvSpPr>
            <a:spLocks noChangeShapeType="1"/>
          </p:cNvSpPr>
          <p:nvPr/>
        </p:nvSpPr>
        <p:spPr bwMode="auto">
          <a:xfrm>
            <a:off x="735019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dirty="0"/>
          </a:p>
        </p:txBody>
      </p:sp>
      <p:sp>
        <p:nvSpPr>
          <p:cNvPr id="156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35013" y="2725738"/>
            <a:ext cx="5716588" cy="457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1566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35013" y="3294063"/>
            <a:ext cx="5705475" cy="3048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defTabSz="457200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C7A0EA2-E0F6-4B7A-BCCB-50D8A67533BD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524313490"/>
      </p:ext>
    </p:extLst>
  </p:cSld>
  <p:clrMapOvr>
    <a:masterClrMapping/>
  </p:clrMapOvr>
  <p:hf hd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7200">
              <a:defRPr b="1"/>
            </a:lvl1pPr>
          </a:lstStyle>
          <a:p>
            <a:pPr>
              <a:defRPr/>
            </a:pPr>
            <a:fld id="{6C1FC531-94EE-4391-A7B5-2FE4D6D95636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230227494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7"/>
            <a:ext cx="8420100" cy="61555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4099136"/>
            <a:ext cx="84201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7200">
              <a:defRPr b="1"/>
            </a:lvl1pPr>
          </a:lstStyle>
          <a:p>
            <a:pPr>
              <a:defRPr/>
            </a:pPr>
            <a:fld id="{C08F813D-FE40-4EEB-8C6C-C6B8B2DB625A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2336659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92929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3588" y="1095375"/>
            <a:ext cx="4259262" cy="27084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75258" y="1095375"/>
            <a:ext cx="4259263" cy="27084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7200">
              <a:defRPr b="1"/>
            </a:lvl1pPr>
          </a:lstStyle>
          <a:p>
            <a:pPr>
              <a:defRPr/>
            </a:pPr>
            <a:fld id="{6FB84437-033F-42D6-A025-A88BFF11B102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251487963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615318"/>
            <a:ext cx="8915400" cy="46166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805543"/>
            <a:ext cx="4376738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88"/>
            <a:ext cx="4376738" cy="198515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83" y="1805543"/>
            <a:ext cx="437832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83" y="2174888"/>
            <a:ext cx="4378325" cy="198515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7200">
              <a:defRPr b="1"/>
            </a:lvl1pPr>
          </a:lstStyle>
          <a:p>
            <a:pPr>
              <a:defRPr/>
            </a:pPr>
            <a:fld id="{7CA43EB6-ACFC-4B68-9D5F-BABE38FC6080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314483552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7200">
              <a:defRPr b="1"/>
            </a:lvl1pPr>
          </a:lstStyle>
          <a:p>
            <a:pPr>
              <a:defRPr/>
            </a:pPr>
            <a:fld id="{29DE8A29-8F87-4003-AB96-59D69FE588DF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184416794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7200">
              <a:defRPr b="1">
                <a:ea typeface="MS PGothic" pitchFamily="34" charset="-128"/>
              </a:defRPr>
            </a:lvl1pPr>
          </a:lstStyle>
          <a:p>
            <a:pPr>
              <a:defRPr/>
            </a:pPr>
            <a:fld id="{58A80252-1755-4B1F-B081-F7789D104A48}" type="slidenum">
              <a:rPr/>
              <a:pPr>
                <a:defRPr/>
              </a:pPr>
              <a:t>‹#›</a:t>
            </a:fld>
            <a:r>
              <a:rPr dirty="0"/>
              <a:t>   |   Barclays presentation title  |  6th  2012</a:t>
            </a:r>
          </a:p>
        </p:txBody>
      </p:sp>
    </p:spTree>
    <p:extLst>
      <p:ext uri="{BB962C8B-B14F-4D97-AF65-F5344CB8AC3E}">
        <p14:creationId xmlns:p14="http://schemas.microsoft.com/office/powerpoint/2010/main" val="77191849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6" y="819560"/>
            <a:ext cx="3259138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499" y="273061"/>
            <a:ext cx="5537201" cy="261610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6" y="1435101"/>
            <a:ext cx="3259138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7200">
              <a:defRPr b="1"/>
            </a:lvl1pPr>
          </a:lstStyle>
          <a:p>
            <a:pPr>
              <a:defRPr/>
            </a:pPr>
            <a:fld id="{F6C610D9-2F01-423C-9579-3788DEB51508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125393357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5059574"/>
            <a:ext cx="59436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8"/>
            <a:ext cx="594360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7200">
              <a:defRPr b="1"/>
            </a:lvl1pPr>
          </a:lstStyle>
          <a:p>
            <a:pPr>
              <a:defRPr/>
            </a:pPr>
            <a:fld id="{2A579ABB-C2A5-4693-98E5-23E97ABB5C29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144793187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56748" y="1095375"/>
            <a:ext cx="3077766" cy="21336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7200">
              <a:defRPr b="1"/>
            </a:lvl1pPr>
          </a:lstStyle>
          <a:p>
            <a:pPr>
              <a:defRPr/>
            </a:pPr>
            <a:fld id="{2BA7371B-9299-43A1-AEAE-AADB497914CD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321183886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37003" y="384175"/>
            <a:ext cx="923330" cy="28448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87481" y="384175"/>
            <a:ext cx="2667397" cy="28448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7200">
              <a:defRPr b="1"/>
            </a:lvl1pPr>
          </a:lstStyle>
          <a:p>
            <a:pPr>
              <a:defRPr/>
            </a:pPr>
            <a:fld id="{4E683981-2D11-45F0-A511-F5B58DA3D4F0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278706672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Bar_06_COL_POS [Converted]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841" y="3008313"/>
            <a:ext cx="1311275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4"/>
          <p:cNvGrpSpPr>
            <a:grpSpLocks/>
          </p:cNvGrpSpPr>
          <p:nvPr userDrawn="1"/>
        </p:nvGrpSpPr>
        <p:grpSpPr bwMode="auto">
          <a:xfrm>
            <a:off x="2012950" y="2132023"/>
            <a:ext cx="5911850" cy="1965325"/>
            <a:chOff x="1865096" y="985741"/>
            <a:chExt cx="5446206" cy="3557683"/>
          </a:xfrm>
        </p:grpSpPr>
        <p:cxnSp>
          <p:nvCxnSpPr>
            <p:cNvPr id="6" name="Straight Connector 8"/>
            <p:cNvCxnSpPr>
              <a:cxnSpLocks noChangeShapeType="1"/>
            </p:cNvCxnSpPr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9"/>
            <p:cNvCxnSpPr>
              <a:cxnSpLocks noChangeShapeType="1"/>
            </p:cNvCxnSpPr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2203916" y="2708212"/>
            <a:ext cx="5343392" cy="492443"/>
          </a:xfrm>
        </p:spPr>
        <p:txBody>
          <a:bodyPr anchor="b"/>
          <a:lstStyle>
            <a:lvl1pPr>
              <a:defRPr sz="32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210034" y="3278942"/>
            <a:ext cx="5336477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641853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Top pictures_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3939750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62145" y="1146189"/>
            <a:ext cx="4234127" cy="258176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59" y="1146189"/>
            <a:ext cx="4234127" cy="258176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/>
          </p:nvPr>
        </p:nvSpPr>
        <p:spPr>
          <a:xfrm>
            <a:off x="5170846" y="3939750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10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30C256E-B7E8-4539-8B53-59B6FA14F60A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41633914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0163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751559" y="2730739"/>
            <a:ext cx="6818973" cy="461665"/>
          </a:xfrm>
        </p:spPr>
        <p:txBody>
          <a:bodyPr anchor="b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51839" y="3281727"/>
            <a:ext cx="6810149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dirty="0"/>
              <a:t>‹#›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323487639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34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9723663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2072998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9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9082089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2755" y="1974850"/>
            <a:ext cx="4488656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6509" y="1974850"/>
            <a:ext cx="4488656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5445343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2882361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0796" y="116632"/>
            <a:ext cx="6484689" cy="360040"/>
          </a:xfrm>
        </p:spPr>
        <p:txBody>
          <a:bodyPr/>
          <a:lstStyle>
            <a:lvl1pPr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2654072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66785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9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2774581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373165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93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93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93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10373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997646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74723" y="1160469"/>
            <a:ext cx="2290763" cy="52609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2431" y="1160469"/>
            <a:ext cx="6707188" cy="52609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753023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Bar_06_COL_POS [Converted]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7" y="6410333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Line 32"/>
          <p:cNvSpPr>
            <a:spLocks noChangeShapeType="1"/>
          </p:cNvSpPr>
          <p:nvPr/>
        </p:nvSpPr>
        <p:spPr bwMode="auto">
          <a:xfrm>
            <a:off x="735017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900" b="0" dirty="0" smtClean="0">
              <a:solidFill>
                <a:srgbClr val="00AEEF"/>
              </a:solidFill>
            </a:endParaRPr>
          </a:p>
        </p:txBody>
      </p:sp>
      <p:sp>
        <p:nvSpPr>
          <p:cNvPr id="7168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95513" y="2708918"/>
            <a:ext cx="5716588" cy="492443"/>
          </a:xfrm>
        </p:spPr>
        <p:txBody>
          <a:bodyPr/>
          <a:lstStyle>
            <a:lvl1pPr>
              <a:defRPr sz="3200" b="1" smtClean="0"/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7168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95517" y="3179763"/>
            <a:ext cx="5705475" cy="304800"/>
          </a:xfrm>
        </p:spPr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93420504"/>
      </p:ext>
    </p:extLst>
  </p:cSld>
  <p:clrMapOvr>
    <a:masterClrMapping/>
  </p:clrMapOvr>
  <p:hf hd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38"/>
            <a:ext cx="8734821" cy="461665"/>
          </a:xfrm>
        </p:spPr>
        <p:txBody>
          <a:bodyPr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91" y="1096009"/>
            <a:ext cx="8671190" cy="2154436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2000">
                <a:latin typeface="+mn-lt"/>
              </a:defRPr>
            </a:lvl2pPr>
            <a:lvl3pPr marL="571500" indent="-342900">
              <a:defRPr sz="2000">
                <a:latin typeface="+mn-lt"/>
              </a:defRPr>
            </a:lvl3pPr>
            <a:lvl4pPr marL="862013" indent="-290513">
              <a:defRPr sz="2000">
                <a:latin typeface="+mn-lt"/>
              </a:defRPr>
            </a:lvl4pPr>
            <a:lvl5pPr marL="1204913" indent="-342900">
              <a:defRPr sz="20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835362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umbered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38"/>
            <a:ext cx="8734821" cy="461665"/>
          </a:xfrm>
        </p:spPr>
        <p:txBody>
          <a:bodyPr anchor="t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91" y="1096009"/>
            <a:ext cx="8671190" cy="1938992"/>
          </a:xfrm>
        </p:spPr>
        <p:txBody>
          <a:bodyPr/>
          <a:lstStyle>
            <a:lvl1pPr marL="341313" indent="-341313">
              <a:lnSpc>
                <a:spcPct val="100000"/>
              </a:lnSpc>
              <a:spcBef>
                <a:spcPts val="900"/>
              </a:spcBef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+mn-lt"/>
              </a:defRPr>
            </a:lvl1pPr>
            <a:lvl2pPr marL="682625" indent="-341313">
              <a:lnSpc>
                <a:spcPct val="100000"/>
              </a:lnSpc>
              <a:spcBef>
                <a:spcPts val="900"/>
              </a:spcBef>
              <a:buFont typeface="+mj-lt"/>
              <a:buAutoNum type="alphaLcPeriod"/>
              <a:defRPr sz="2000">
                <a:latin typeface="+mn-lt"/>
              </a:defRPr>
            </a:lvl2pPr>
            <a:lvl3pPr marL="1025525" indent="-333375">
              <a:lnSpc>
                <a:spcPct val="100000"/>
              </a:lnSpc>
              <a:spcBef>
                <a:spcPts val="900"/>
              </a:spcBef>
              <a:defRPr sz="2000">
                <a:latin typeface="+mn-lt"/>
              </a:defRPr>
            </a:lvl3pPr>
            <a:lvl4pPr marL="1146175" indent="-231775">
              <a:lnSpc>
                <a:spcPct val="100000"/>
              </a:lnSpc>
              <a:spcBef>
                <a:spcPts val="900"/>
              </a:spcBef>
              <a:defRPr sz="1800">
                <a:latin typeface="+mn-lt"/>
              </a:defRPr>
            </a:lvl4pPr>
            <a:lvl5pPr marL="1427163" indent="-280988">
              <a:lnSpc>
                <a:spcPct val="100000"/>
              </a:lnSpc>
              <a:spcBef>
                <a:spcPts val="900"/>
              </a:spcBef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10036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6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633413" indent="-228600">
              <a:lnSpc>
                <a:spcPct val="100000"/>
              </a:lnSpc>
              <a:spcBef>
                <a:spcPts val="900"/>
              </a:spcBef>
              <a:defRPr sz="1400"/>
            </a:lvl4pPr>
            <a:lvl5pPr marL="862013" indent="-228600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39" y="1146179"/>
            <a:ext cx="4234127" cy="4792663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60184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text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6"/>
            <a:ext cx="4253045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4813" indent="-228600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77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66136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2 Right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6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571500" indent="-166688">
              <a:lnSpc>
                <a:spcPct val="100000"/>
              </a:lnSpc>
              <a:spcBef>
                <a:spcPts val="900"/>
              </a:spcBef>
              <a:defRPr sz="1400"/>
            </a:lvl4pPr>
            <a:lvl5pPr marL="747713" indent="-176213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39" y="1146185"/>
            <a:ext cx="4234127" cy="229036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52" y="3658271"/>
            <a:ext cx="4234127" cy="229036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046759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p pictures_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3939747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62139" y="1146186"/>
            <a:ext cx="4234127" cy="2581763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52" y="1146186"/>
            <a:ext cx="4234127" cy="2581763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/>
          </p:nvPr>
        </p:nvSpPr>
        <p:spPr>
          <a:xfrm>
            <a:off x="5170846" y="3939747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342808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52" y="452872"/>
            <a:ext cx="4234127" cy="245111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59966" y="452872"/>
            <a:ext cx="4234127" cy="245111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751252" y="3266409"/>
            <a:ext cx="4234127" cy="245111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159966" y="3266409"/>
            <a:ext cx="4234127" cy="245111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739509" y="2953806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180880" y="2953806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757298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5180880" y="5757298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32155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4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theme" Target="../theme/theme11.xml"/><Relationship Id="rId2" Type="http://schemas.openxmlformats.org/officeDocument/2006/relationships/slideLayout" Target="../slideLayouts/slideLayout130.xml"/><Relationship Id="rId16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7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48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15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3.xml"/><Relationship Id="rId9" Type="http://schemas.openxmlformats.org/officeDocument/2006/relationships/oleObject" Target="../embeddings/oleObject2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59.xml"/><Relationship Id="rId12" Type="http://schemas.openxmlformats.org/officeDocument/2006/relationships/slideLayout" Target="../slideLayouts/slideLayout164.xml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63.xml"/><Relationship Id="rId5" Type="http://schemas.openxmlformats.org/officeDocument/2006/relationships/slideLayout" Target="../slideLayouts/slideLayout157.xml"/><Relationship Id="rId10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93.xml"/><Relationship Id="rId16" Type="http://schemas.openxmlformats.org/officeDocument/2006/relationships/theme" Target="../theme/theme8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hite Title BG"/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84" b="-14384"/>
          <a:stretch/>
        </p:blipFill>
        <p:spPr bwMode="auto">
          <a:xfrm>
            <a:off x="0" y="1"/>
            <a:ext cx="3019644" cy="100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3225" y="1160473"/>
            <a:ext cx="916305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sub title style 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2753" y="1974850"/>
            <a:ext cx="9142413" cy="444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9" name="Line 5"/>
          <p:cNvSpPr>
            <a:spLocks noChangeShapeType="1"/>
          </p:cNvSpPr>
          <p:nvPr/>
        </p:nvSpPr>
        <p:spPr bwMode="auto">
          <a:xfrm>
            <a:off x="401638" y="744465"/>
            <a:ext cx="9101138" cy="0"/>
          </a:xfrm>
          <a:prstGeom prst="line">
            <a:avLst/>
          </a:prstGeom>
          <a:noFill/>
          <a:ln w="19050">
            <a:solidFill>
              <a:srgbClr val="80828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1030" name="Text Box 6"/>
          <p:cNvSpPr txBox="1">
            <a:spLocks noChangeArrowheads="1"/>
          </p:cNvSpPr>
          <p:nvPr/>
        </p:nvSpPr>
        <p:spPr bwMode="auto">
          <a:xfrm>
            <a:off x="8534400" y="6613535"/>
            <a:ext cx="1371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174BB9EC-E004-4F94-8034-BB5273A71642}" type="slidenum">
              <a:rPr lang="en-GB" sz="1000" b="0" smtClean="0">
                <a:latin typeface="Arial" charset="0"/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GB" sz="1000" b="0" dirty="0" smtClean="0">
              <a:latin typeface="Arial" charset="0"/>
            </a:endParaRPr>
          </a:p>
        </p:txBody>
      </p:sp>
      <p:sp>
        <p:nvSpPr>
          <p:cNvPr id="7" name="TextBox 7"/>
          <p:cNvSpPr txBox="1">
            <a:spLocks noChangeArrowheads="1"/>
          </p:cNvSpPr>
          <p:nvPr/>
        </p:nvSpPr>
        <p:spPr bwMode="auto">
          <a:xfrm>
            <a:off x="401638" y="6628372"/>
            <a:ext cx="4827587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GB" sz="900" dirty="0"/>
              <a:t>Company </a:t>
            </a:r>
            <a:r>
              <a:rPr lang="en-GB" sz="900" dirty="0" smtClean="0"/>
              <a:t>Confidential</a:t>
            </a:r>
            <a:endParaRPr lang="en-GB" sz="9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149" r:id="rId1"/>
    <p:sldLayoutId id="2147490150" r:id="rId2"/>
    <p:sldLayoutId id="2147490151" r:id="rId3"/>
    <p:sldLayoutId id="2147490152" r:id="rId4"/>
    <p:sldLayoutId id="2147490153" r:id="rId5"/>
    <p:sldLayoutId id="2147490154" r:id="rId6"/>
    <p:sldLayoutId id="2147490155" r:id="rId7"/>
    <p:sldLayoutId id="2147490156" r:id="rId8"/>
    <p:sldLayoutId id="2147490157" r:id="rId9"/>
    <p:sldLayoutId id="2147490158" r:id="rId10"/>
    <p:sldLayoutId id="2147490159" r:id="rId11"/>
    <p:sldLayoutId id="2147490284" r:id="rId12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20000"/>
        </a:spcAft>
        <a:buFont typeface="Expert Sans Regular" pitchFamily="34" charset="0"/>
        <a:buChar char="−"/>
        <a:defRPr sz="12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§"/>
        <a:defRPr sz="12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ú"/>
        <a:defRPr sz="1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White Title B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18" t="11897" r="1218" b="11897"/>
          <a:stretch>
            <a:fillRect/>
          </a:stretch>
        </p:blipFill>
        <p:spPr bwMode="auto">
          <a:xfrm>
            <a:off x="1" y="1"/>
            <a:ext cx="3080147" cy="77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Text Box 6"/>
          <p:cNvSpPr txBox="1">
            <a:spLocks noChangeArrowheads="1"/>
          </p:cNvSpPr>
          <p:nvPr/>
        </p:nvSpPr>
        <p:spPr bwMode="auto">
          <a:xfrm>
            <a:off x="8029709" y="6503989"/>
            <a:ext cx="137067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67CCE959-5406-4B68-9F4C-BA268D899A9A}" type="slidenum">
              <a:rPr lang="en-GB" sz="1000" b="0" smtClean="0">
                <a:solidFill>
                  <a:srgbClr val="808284"/>
                </a:solidFill>
                <a:ea typeface="MS PGothic" pitchFamily="34" charset="-128"/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GB" sz="1000" b="0" dirty="0" smtClean="0">
              <a:solidFill>
                <a:srgbClr val="808284"/>
              </a:solidFill>
              <a:ea typeface="MS PGothic" pitchFamily="34" charset="-128"/>
            </a:endParaRPr>
          </a:p>
        </p:txBody>
      </p:sp>
      <p:sp>
        <p:nvSpPr>
          <p:cNvPr id="1843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2431" y="1160464"/>
            <a:ext cx="916305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sub title style </a:t>
            </a:r>
          </a:p>
        </p:txBody>
      </p:sp>
      <p:sp>
        <p:nvSpPr>
          <p:cNvPr id="1843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2750" y="1974850"/>
            <a:ext cx="9142413" cy="444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5860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248" r:id="rId1"/>
    <p:sldLayoutId id="2147490249" r:id="rId2"/>
    <p:sldLayoutId id="2147490250" r:id="rId3"/>
    <p:sldLayoutId id="2147490251" r:id="rId4"/>
    <p:sldLayoutId id="2147490252" r:id="rId5"/>
    <p:sldLayoutId id="2147490253" r:id="rId6"/>
    <p:sldLayoutId id="2147490254" r:id="rId7"/>
    <p:sldLayoutId id="2147490255" r:id="rId8"/>
    <p:sldLayoutId id="2147490256" r:id="rId9"/>
    <p:sldLayoutId id="2147490257" r:id="rId10"/>
    <p:sldLayoutId id="2147490258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20000"/>
        </a:spcAft>
        <a:buFont typeface="Expert Sans Regular" pitchFamily="34" charset="0"/>
        <a:buChar char="−"/>
        <a:defRPr sz="12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§"/>
        <a:defRPr sz="12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ú"/>
        <a:defRPr sz="1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Bar_06_COL_POS [Converted].png"/>
          <p:cNvPicPr>
            <a:picLocks noChangeAspect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8107363" y="6410325"/>
            <a:ext cx="1298575" cy="220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55650" y="384175"/>
            <a:ext cx="8734425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3588" y="1095375"/>
            <a:ext cx="8670925" cy="2155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72" name="Line 32"/>
          <p:cNvSpPr>
            <a:spLocks noChangeShapeType="1"/>
          </p:cNvSpPr>
          <p:nvPr/>
        </p:nvSpPr>
        <p:spPr bwMode="auto">
          <a:xfrm>
            <a:off x="735013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endParaRPr lang="en-US" sz="3600" b="0" dirty="0">
              <a:solidFill>
                <a:srgbClr val="00AEEF"/>
              </a:solidFill>
              <a:latin typeface="Expert Sans Regular"/>
              <a:cs typeface="+mn-cs"/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41363" y="6316663"/>
            <a:ext cx="3136900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231DE70-11A9-4360-8F70-119A89213BEE}" type="slidenum">
              <a:rPr b="0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b="0" dirty="0">
                <a:solidFill>
                  <a:srgbClr val="000000"/>
                </a:solidFill>
              </a:rPr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4015482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261" r:id="rId1"/>
    <p:sldLayoutId id="2147490262" r:id="rId2"/>
    <p:sldLayoutId id="2147490263" r:id="rId3"/>
    <p:sldLayoutId id="2147490264" r:id="rId4"/>
    <p:sldLayoutId id="2147490265" r:id="rId5"/>
    <p:sldLayoutId id="2147490266" r:id="rId6"/>
    <p:sldLayoutId id="2147490267" r:id="rId7"/>
    <p:sldLayoutId id="2147490268" r:id="rId8"/>
    <p:sldLayoutId id="2147490269" r:id="rId9"/>
    <p:sldLayoutId id="2147490270" r:id="rId10"/>
    <p:sldLayoutId id="2147490271" r:id="rId11"/>
    <p:sldLayoutId id="2147490272" r:id="rId12"/>
    <p:sldLayoutId id="2147490273" r:id="rId13"/>
    <p:sldLayoutId id="2147490274" r:id="rId14"/>
    <p:sldLayoutId id="2147490275" r:id="rId15"/>
    <p:sldLayoutId id="2147490276" r:id="rId16"/>
  </p:sldLayoutIdLst>
  <p:hf hdr="0" dt="0"/>
  <p:txStyles>
    <p:titleStyle>
      <a:lvl1pPr algn="l" rtl="0" fontAlgn="base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9pPr>
    </p:titleStyle>
    <p:bodyStyle>
      <a:lvl1pPr algn="l" rtl="0" fontAlgn="base"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rtl="0" fontAlgn="base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2pPr>
      <a:lvl3pPr marL="568325" indent="-333375" algn="l" rtl="0" fontAlgn="base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3pPr>
      <a:lvl4pPr marL="858838" indent="-290513" algn="l" rtl="0" fontAlgn="base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4pPr>
      <a:lvl5pPr marL="1204913" indent="-346075" algn="l" rtl="0" fontAlgn="base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5pPr>
      <a:lvl6pPr marL="24606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6pPr>
      <a:lvl7pPr marL="29178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7pPr>
      <a:lvl8pPr marL="33750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8pPr>
      <a:lvl9pPr marL="38322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Bar_06_COL_POS [Converted]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5" y="6410329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55652" y="384179"/>
            <a:ext cx="87344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3590" y="1095379"/>
            <a:ext cx="8670925" cy="2155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9" name="Line 32"/>
          <p:cNvSpPr>
            <a:spLocks noChangeShapeType="1"/>
          </p:cNvSpPr>
          <p:nvPr/>
        </p:nvSpPr>
        <p:spPr bwMode="auto">
          <a:xfrm>
            <a:off x="735015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pPr eaLnBrk="0" hangingPunct="0">
              <a:spcBef>
                <a:spcPct val="50000"/>
              </a:spcBef>
              <a:buClr>
                <a:srgbClr val="969696"/>
              </a:buClr>
            </a:pPr>
            <a:endParaRPr lang="en-GB" sz="1000" b="0" dirty="0">
              <a:solidFill>
                <a:srgbClr val="000000"/>
              </a:solidFill>
            </a:endParaRPr>
          </a:p>
        </p:txBody>
      </p:sp>
      <p:sp>
        <p:nvSpPr>
          <p:cNvPr id="7" name="Footer Placeholder 10"/>
          <p:cNvSpPr txBox="1">
            <a:spLocks/>
          </p:cNvSpPr>
          <p:nvPr userDrawn="1"/>
        </p:nvSpPr>
        <p:spPr bwMode="auto">
          <a:xfrm>
            <a:off x="741364" y="6316280"/>
            <a:ext cx="4745037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>
            <a:lvl1pPr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8CDBB4E3-A149-4104-93BC-A3E399AF4099}" type="slidenum">
              <a:rPr lang="en-US" sz="900" b="0" smtClean="0">
                <a:solidFill>
                  <a:srgbClr val="000000"/>
                </a:solidFill>
              </a:rPr>
              <a:pPr>
                <a:spcBef>
                  <a:spcPct val="50000"/>
                </a:spcBef>
                <a:defRPr/>
              </a:pPr>
              <a:t>‹#›</a:t>
            </a:fld>
            <a:r>
              <a:rPr lang="en-US" sz="900" b="0" dirty="0" smtClean="0">
                <a:solidFill>
                  <a:srgbClr val="000000"/>
                </a:solidFill>
              </a:rPr>
              <a:t>   |   </a:t>
            </a:r>
            <a:r>
              <a:rPr lang="en-GB" sz="900" b="0" dirty="0" smtClean="0">
                <a:solidFill>
                  <a:srgbClr val="000000"/>
                </a:solidFill>
                <a:latin typeface="Arial" charset="0"/>
              </a:rPr>
              <a:t>Barclays Corporate Enterprise Release Management </a:t>
            </a:r>
            <a:r>
              <a:rPr lang="en-US" sz="900" b="0" dirty="0" smtClean="0">
                <a:solidFill>
                  <a:srgbClr val="000000"/>
                </a:solidFill>
              </a:rPr>
              <a:t>| 2014</a:t>
            </a:r>
          </a:p>
        </p:txBody>
      </p:sp>
      <p:sp>
        <p:nvSpPr>
          <p:cNvPr id="1031" name="TextBox 7"/>
          <p:cNvSpPr txBox="1">
            <a:spLocks noChangeArrowheads="1"/>
          </p:cNvSpPr>
          <p:nvPr userDrawn="1"/>
        </p:nvSpPr>
        <p:spPr bwMode="auto">
          <a:xfrm>
            <a:off x="741365" y="6500813"/>
            <a:ext cx="4827587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en-US" sz="900" b="0" dirty="0" smtClean="0">
                <a:solidFill>
                  <a:srgbClr val="000000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468480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278" r:id="rId1"/>
    <p:sldLayoutId id="2147490279" r:id="rId2"/>
    <p:sldLayoutId id="2147490280" r:id="rId3"/>
    <p:sldLayoutId id="2147490281" r:id="rId4"/>
    <p:sldLayoutId id="2147490283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2pPr>
      <a:lvl3pPr marL="568325" indent="-3333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3pPr>
      <a:lvl4pPr marL="858838" indent="-290513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4pPr>
      <a:lvl5pPr marL="1204913" indent="-3460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5pPr>
      <a:lvl6pPr marL="24606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6pPr>
      <a:lvl7pPr marL="29178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7pPr>
      <a:lvl8pPr marL="33750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8pPr>
      <a:lvl9pPr marL="38322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608" y="160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8" y="160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27" name="Object 2" hidden="1"/>
          <p:cNvGraphicFramePr>
            <a:graphicFrameLocks noChangeAspect="1"/>
          </p:cNvGraphicFramePr>
          <p:nvPr/>
        </p:nvGraphicFramePr>
        <p:xfrm>
          <a:off x="1608" y="160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8" y="160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23429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286" r:id="rId1"/>
    <p:sldLayoutId id="2147490287" r:id="rId2"/>
    <p:sldLayoutId id="2147490288" r:id="rId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+mj-lt"/>
          <a:ea typeface="ＭＳ Ｐゴシック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  <a:ea typeface="ＭＳ Ｐゴシック" pitchFamily="34" charset="-128"/>
        </a:defRPr>
      </a:lvl5pPr>
      <a:lvl6pPr marL="457034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6pPr>
      <a:lvl7pPr marL="91407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7pPr>
      <a:lvl8pPr marL="1371106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8pPr>
      <a:lvl9pPr marL="182814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defRPr sz="14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230188" indent="-230188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1400">
          <a:solidFill>
            <a:schemeClr val="tx1"/>
          </a:solidFill>
          <a:latin typeface="+mn-lt"/>
          <a:ea typeface="ＭＳ Ｐゴシック" pitchFamily="34" charset="-128"/>
        </a:defRPr>
      </a:lvl2pPr>
      <a:lvl3pPr marL="566738" indent="-3317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–"/>
        <a:defRPr sz="1400">
          <a:solidFill>
            <a:schemeClr val="tx1"/>
          </a:solidFill>
          <a:latin typeface="+mn-lt"/>
          <a:ea typeface="ＭＳ Ｐゴシック" pitchFamily="34" charset="-128"/>
        </a:defRPr>
      </a:lvl3pPr>
      <a:lvl4pPr marL="857250" indent="-288925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1400">
          <a:solidFill>
            <a:schemeClr val="tx1"/>
          </a:solidFill>
          <a:latin typeface="+mn-lt"/>
          <a:ea typeface="ＭＳ Ｐゴシック" pitchFamily="34" charset="-128"/>
        </a:defRPr>
      </a:lvl4pPr>
      <a:lvl5pPr marL="1203325" indent="-3444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–"/>
        <a:defRPr sz="1400">
          <a:solidFill>
            <a:schemeClr val="tx1"/>
          </a:solidFill>
          <a:latin typeface="+mn-lt"/>
          <a:ea typeface="ＭＳ Ｐゴシック" pitchFamily="34" charset="-128"/>
        </a:defRPr>
      </a:lvl5pPr>
      <a:lvl6pPr marL="2459737" indent="-174562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6pPr>
      <a:lvl7pPr marL="2916773" indent="-174562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7pPr>
      <a:lvl8pPr marL="3373807" indent="-174562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8pPr>
      <a:lvl9pPr marL="3830843" indent="-174562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4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70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06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40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76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11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46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81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hite Title BG"/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84" b="-14384"/>
          <a:stretch/>
        </p:blipFill>
        <p:spPr bwMode="auto">
          <a:xfrm>
            <a:off x="0" y="1"/>
            <a:ext cx="3019644" cy="100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3225" y="1160473"/>
            <a:ext cx="916305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sub title style 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2753" y="1974850"/>
            <a:ext cx="9142413" cy="444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9" name="Line 5"/>
          <p:cNvSpPr>
            <a:spLocks noChangeShapeType="1"/>
          </p:cNvSpPr>
          <p:nvPr/>
        </p:nvSpPr>
        <p:spPr bwMode="auto">
          <a:xfrm>
            <a:off x="401638" y="744465"/>
            <a:ext cx="9101138" cy="0"/>
          </a:xfrm>
          <a:prstGeom prst="line">
            <a:avLst/>
          </a:prstGeom>
          <a:noFill/>
          <a:ln w="19050">
            <a:solidFill>
              <a:srgbClr val="80828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>
              <a:solidFill>
                <a:srgbClr val="808284"/>
              </a:solidFill>
            </a:endParaRPr>
          </a:p>
        </p:txBody>
      </p:sp>
      <p:sp>
        <p:nvSpPr>
          <p:cNvPr id="1030" name="Text Box 6"/>
          <p:cNvSpPr txBox="1">
            <a:spLocks noChangeArrowheads="1"/>
          </p:cNvSpPr>
          <p:nvPr/>
        </p:nvSpPr>
        <p:spPr bwMode="auto">
          <a:xfrm>
            <a:off x="8534400" y="6613535"/>
            <a:ext cx="1371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174BB9EC-E004-4F94-8034-BB5273A71642}" type="slidenum">
              <a:rPr lang="en-GB" sz="1000" b="0" smtClean="0">
                <a:solidFill>
                  <a:srgbClr val="808284"/>
                </a:solidFill>
                <a:latin typeface="Arial" charset="0"/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GB" sz="1000" b="0" dirty="0" smtClean="0">
              <a:solidFill>
                <a:srgbClr val="808284"/>
              </a:solidFill>
              <a:latin typeface="Arial" charset="0"/>
            </a:endParaRPr>
          </a:p>
        </p:txBody>
      </p:sp>
      <p:sp>
        <p:nvSpPr>
          <p:cNvPr id="7" name="TextBox 7"/>
          <p:cNvSpPr txBox="1">
            <a:spLocks noChangeArrowheads="1"/>
          </p:cNvSpPr>
          <p:nvPr/>
        </p:nvSpPr>
        <p:spPr bwMode="auto">
          <a:xfrm>
            <a:off x="401638" y="6628372"/>
            <a:ext cx="4827587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GB" sz="900" dirty="0">
                <a:solidFill>
                  <a:srgbClr val="808284"/>
                </a:solidFill>
              </a:rPr>
              <a:t>Company </a:t>
            </a:r>
            <a:r>
              <a:rPr lang="en-GB" sz="900" dirty="0" smtClean="0">
                <a:solidFill>
                  <a:srgbClr val="808284"/>
                </a:solidFill>
              </a:rPr>
              <a:t>Confidential</a:t>
            </a:r>
            <a:endParaRPr lang="en-GB" sz="900" dirty="0">
              <a:solidFill>
                <a:srgbClr val="80828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58749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290" r:id="rId1"/>
    <p:sldLayoutId id="2147490291" r:id="rId2"/>
    <p:sldLayoutId id="2147490292" r:id="rId3"/>
    <p:sldLayoutId id="2147490293" r:id="rId4"/>
    <p:sldLayoutId id="2147490294" r:id="rId5"/>
    <p:sldLayoutId id="2147490295" r:id="rId6"/>
    <p:sldLayoutId id="2147490296" r:id="rId7"/>
    <p:sldLayoutId id="2147490297" r:id="rId8"/>
    <p:sldLayoutId id="2147490298" r:id="rId9"/>
    <p:sldLayoutId id="2147490299" r:id="rId10"/>
    <p:sldLayoutId id="2147490300" r:id="rId11"/>
    <p:sldLayoutId id="2147490301" r:id="rId12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20000"/>
        </a:spcAft>
        <a:buFont typeface="Expert Sans Regular" pitchFamily="34" charset="0"/>
        <a:buChar char="−"/>
        <a:defRPr sz="12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§"/>
        <a:defRPr sz="12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ú"/>
        <a:defRPr sz="1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White Title B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0"/>
            <a:ext cx="3279775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3225" y="1160473"/>
            <a:ext cx="916305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sub title style </a:t>
            </a:r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2753" y="1974850"/>
            <a:ext cx="9142413" cy="444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053" name="Line 5"/>
          <p:cNvSpPr>
            <a:spLocks noChangeShapeType="1"/>
          </p:cNvSpPr>
          <p:nvPr/>
        </p:nvSpPr>
        <p:spPr bwMode="auto">
          <a:xfrm>
            <a:off x="527050" y="1028700"/>
            <a:ext cx="9101138" cy="9525"/>
          </a:xfrm>
          <a:prstGeom prst="line">
            <a:avLst/>
          </a:prstGeom>
          <a:noFill/>
          <a:ln w="19050">
            <a:solidFill>
              <a:srgbClr val="80828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2054" name="Text Box 6"/>
          <p:cNvSpPr txBox="1">
            <a:spLocks noChangeArrowheads="1"/>
          </p:cNvSpPr>
          <p:nvPr/>
        </p:nvSpPr>
        <p:spPr bwMode="auto">
          <a:xfrm>
            <a:off x="8534400" y="6613535"/>
            <a:ext cx="1371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A97347BA-D404-484B-9160-3EDF799C3CB9}" type="slidenum">
              <a:rPr lang="en-GB" sz="1000" b="0" smtClean="0">
                <a:latin typeface="Arial" charset="0"/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GB" sz="1000" b="0" dirty="0" smtClean="0"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128" r:id="rId1"/>
    <p:sldLayoutId id="2147490129" r:id="rId2"/>
    <p:sldLayoutId id="2147490130" r:id="rId3"/>
    <p:sldLayoutId id="2147490131" r:id="rId4"/>
    <p:sldLayoutId id="2147490132" r:id="rId5"/>
    <p:sldLayoutId id="2147490133" r:id="rId6"/>
    <p:sldLayoutId id="2147490134" r:id="rId7"/>
    <p:sldLayoutId id="2147490135" r:id="rId8"/>
    <p:sldLayoutId id="2147490136" r:id="rId9"/>
    <p:sldLayoutId id="2147490137" r:id="rId10"/>
    <p:sldLayoutId id="2147490138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20000"/>
        </a:spcAft>
        <a:buFont typeface="Expert Sans Regular" pitchFamily="34" charset="0"/>
        <a:buChar char="−"/>
        <a:defRPr sz="12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§"/>
        <a:defRPr sz="12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ú"/>
        <a:defRPr sz="1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White Title B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0"/>
            <a:ext cx="3279775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1638" y="1160473"/>
            <a:ext cx="916305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sub title style </a:t>
            </a:r>
          </a:p>
        </p:txBody>
      </p:sp>
      <p:sp>
        <p:nvSpPr>
          <p:cNvPr id="307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2753" y="1974850"/>
            <a:ext cx="9142413" cy="444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077" name="Line 5"/>
          <p:cNvSpPr>
            <a:spLocks noChangeShapeType="1"/>
          </p:cNvSpPr>
          <p:nvPr/>
        </p:nvSpPr>
        <p:spPr bwMode="auto">
          <a:xfrm>
            <a:off x="525468" y="1028700"/>
            <a:ext cx="9102725" cy="9525"/>
          </a:xfrm>
          <a:prstGeom prst="line">
            <a:avLst/>
          </a:prstGeom>
          <a:noFill/>
          <a:ln w="19050">
            <a:solidFill>
              <a:srgbClr val="80828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1030" name="Text Box 6"/>
          <p:cNvSpPr txBox="1">
            <a:spLocks noChangeArrowheads="1"/>
          </p:cNvSpPr>
          <p:nvPr/>
        </p:nvSpPr>
        <p:spPr bwMode="auto">
          <a:xfrm>
            <a:off x="8534400" y="6613535"/>
            <a:ext cx="1371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1DB1846A-68D9-412D-AEDC-DB00AABF0444}" type="slidenum">
              <a:rPr lang="en-GB" sz="1000" b="0" smtClean="0">
                <a:solidFill>
                  <a:srgbClr val="808284"/>
                </a:solidFill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GB" sz="1000" b="0" dirty="0" smtClean="0">
              <a:solidFill>
                <a:srgbClr val="808284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160" r:id="rId1"/>
    <p:sldLayoutId id="2147490139" r:id="rId2"/>
    <p:sldLayoutId id="2147490140" r:id="rId3"/>
    <p:sldLayoutId id="2147490141" r:id="rId4"/>
    <p:sldLayoutId id="2147490142" r:id="rId5"/>
    <p:sldLayoutId id="2147490143" r:id="rId6"/>
    <p:sldLayoutId id="2147490144" r:id="rId7"/>
    <p:sldLayoutId id="2147490145" r:id="rId8"/>
    <p:sldLayoutId id="2147490146" r:id="rId9"/>
    <p:sldLayoutId id="2147490147" r:id="rId10"/>
    <p:sldLayoutId id="2147490148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accent2"/>
          </a:solidFill>
          <a:latin typeface="Expert Sans Regular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accent2"/>
          </a:solidFill>
          <a:latin typeface="Expert Sans Regular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accent2"/>
          </a:solidFill>
          <a:latin typeface="Expert Sans Regular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accent2"/>
          </a:solidFill>
          <a:latin typeface="Expert Sans Regular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>
          <a:solidFill>
            <a:schemeClr val="accent2"/>
          </a:solidFill>
          <a:latin typeface="Expert Sans Regular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>
          <a:solidFill>
            <a:schemeClr val="accent2"/>
          </a:solidFill>
          <a:latin typeface="Expert Sans Regular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>
          <a:solidFill>
            <a:schemeClr val="accent2"/>
          </a:solidFill>
          <a:latin typeface="Expert Sans Regular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>
          <a:solidFill>
            <a:schemeClr val="accent2"/>
          </a:solidFill>
          <a:latin typeface="Expert Sans Regular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20000"/>
        </a:spcAft>
        <a:buFont typeface="Expert Sans Regular" pitchFamily="34" charset="0"/>
        <a:buChar char="−"/>
        <a:defRPr sz="12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§"/>
        <a:defRPr sz="12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ú"/>
        <a:defRPr sz="1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7" descr="Bar_06_COL_POS [Converted].png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8" y="6410335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55652" y="384185"/>
            <a:ext cx="87344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3594" y="1095385"/>
            <a:ext cx="8670925" cy="2155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01" name="Line 32"/>
          <p:cNvSpPr>
            <a:spLocks noChangeShapeType="1"/>
          </p:cNvSpPr>
          <p:nvPr/>
        </p:nvSpPr>
        <p:spPr bwMode="auto">
          <a:xfrm>
            <a:off x="735019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41363" y="6316663"/>
            <a:ext cx="3136900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9E0AE0C-DF2C-47D7-B060-D3E54E228C69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161" r:id="rId1"/>
    <p:sldLayoutId id="2147490162" r:id="rId2"/>
    <p:sldLayoutId id="2147490163" r:id="rId3"/>
    <p:sldLayoutId id="2147490164" r:id="rId4"/>
    <p:sldLayoutId id="2147490165" r:id="rId5"/>
    <p:sldLayoutId id="2147490166" r:id="rId6"/>
    <p:sldLayoutId id="2147490167" r:id="rId7"/>
    <p:sldLayoutId id="2147490168" r:id="rId8"/>
    <p:sldLayoutId id="2147490169" r:id="rId9"/>
    <p:sldLayoutId id="2147490170" r:id="rId10"/>
    <p:sldLayoutId id="2147490171" r:id="rId11"/>
    <p:sldLayoutId id="2147490172" r:id="rId12"/>
    <p:sldLayoutId id="2147490173" r:id="rId13"/>
    <p:sldLayoutId id="2147490174" r:id="rId14"/>
    <p:sldLayoutId id="2147490175" r:id="rId15"/>
    <p:sldLayoutId id="2147490176" r:id="rId16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2pPr>
      <a:lvl3pPr marL="568325" indent="-3333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3pPr>
      <a:lvl4pPr marL="858838" indent="-290513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4pPr>
      <a:lvl5pPr marL="1204913" indent="-3460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5pPr>
      <a:lvl6pPr marL="24606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6pPr>
      <a:lvl7pPr marL="29178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7pPr>
      <a:lvl8pPr marL="33750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8pPr>
      <a:lvl9pPr marL="38322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7" descr="Bar_06_COL_POS [Converted].png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8" y="6410335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55652" y="384185"/>
            <a:ext cx="87344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3594" y="1095385"/>
            <a:ext cx="8670925" cy="2155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5125" name="Line 32"/>
          <p:cNvSpPr>
            <a:spLocks noChangeShapeType="1"/>
          </p:cNvSpPr>
          <p:nvPr/>
        </p:nvSpPr>
        <p:spPr bwMode="auto">
          <a:xfrm>
            <a:off x="735019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41363" y="6316663"/>
            <a:ext cx="3136900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A5C4EC8-A5B1-4BC2-9E22-D9BFD872F495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177" r:id="rId1"/>
    <p:sldLayoutId id="2147490178" r:id="rId2"/>
    <p:sldLayoutId id="2147490179" r:id="rId3"/>
    <p:sldLayoutId id="2147490180" r:id="rId4"/>
    <p:sldLayoutId id="2147490181" r:id="rId5"/>
    <p:sldLayoutId id="2147490182" r:id="rId6"/>
    <p:sldLayoutId id="2147490183" r:id="rId7"/>
    <p:sldLayoutId id="2147490184" r:id="rId8"/>
    <p:sldLayoutId id="2147490185" r:id="rId9"/>
    <p:sldLayoutId id="2147490186" r:id="rId10"/>
    <p:sldLayoutId id="2147490187" r:id="rId11"/>
    <p:sldLayoutId id="2147490188" r:id="rId12"/>
    <p:sldLayoutId id="2147490189" r:id="rId13"/>
    <p:sldLayoutId id="2147490190" r:id="rId14"/>
    <p:sldLayoutId id="2147490191" r:id="rId15"/>
    <p:sldLayoutId id="2147490192" r:id="rId16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2pPr>
      <a:lvl3pPr marL="568325" indent="-3333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3pPr>
      <a:lvl4pPr marL="858838" indent="-290513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4pPr>
      <a:lvl5pPr marL="1204913" indent="-3460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5pPr>
      <a:lvl6pPr marL="24606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6pPr>
      <a:lvl7pPr marL="29178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7pPr>
      <a:lvl8pPr marL="33750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8pPr>
      <a:lvl9pPr marL="38322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7" descr="Bar_06_COL_POS [Converted].p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8" y="6410335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55652" y="384185"/>
            <a:ext cx="87344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title</a:t>
            </a: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3594" y="1095375"/>
            <a:ext cx="8670925" cy="213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6149" name="Line 32"/>
          <p:cNvSpPr>
            <a:spLocks noChangeShapeType="1"/>
          </p:cNvSpPr>
          <p:nvPr/>
        </p:nvSpPr>
        <p:spPr bwMode="auto">
          <a:xfrm>
            <a:off x="735019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41363" y="6316663"/>
            <a:ext cx="3136900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914400" rtl="0" fontAlgn="base">
              <a:spcBef>
                <a:spcPct val="50000"/>
              </a:spcBef>
              <a:spcAft>
                <a:spcPct val="0"/>
              </a:spcAft>
              <a:defRPr lang="en-US" sz="9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0C040D52-8094-4B49-B733-F00EAE99AF4A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193" r:id="rId1"/>
    <p:sldLayoutId id="2147490194" r:id="rId2"/>
    <p:sldLayoutId id="2147490195" r:id="rId3"/>
    <p:sldLayoutId id="2147490196" r:id="rId4"/>
    <p:sldLayoutId id="2147490197" r:id="rId5"/>
    <p:sldLayoutId id="2147490198" r:id="rId6"/>
    <p:sldLayoutId id="2147490199" r:id="rId7"/>
    <p:sldLayoutId id="2147490200" r:id="rId8"/>
    <p:sldLayoutId id="2147490201" r:id="rId9"/>
    <p:sldLayoutId id="2147490202" r:id="rId10"/>
    <p:sldLayoutId id="2147490203" r:id="rId11"/>
    <p:sldLayoutId id="2147490204" r:id="rId12"/>
    <p:sldLayoutId id="2147490205" r:id="rId13"/>
    <p:sldLayoutId id="2147490206" r:id="rId14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2pPr>
      <a:lvl3pPr marL="568325" indent="-3333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3pPr>
      <a:lvl4pPr marL="858838" indent="-290513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4pPr>
      <a:lvl5pPr marL="1204913" indent="-3460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5pPr>
      <a:lvl6pPr marL="1662113" indent="-346075" algn="l" rtl="0" fontAlgn="base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6pPr>
      <a:lvl7pPr marL="2119313" indent="-346075" algn="l" rtl="0" fontAlgn="base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7pPr>
      <a:lvl8pPr marL="2576513" indent="-346075" algn="l" rtl="0" fontAlgn="base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8pPr>
      <a:lvl9pPr marL="3033713" indent="-346075" algn="l" rtl="0" fontAlgn="base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White Title B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18" t="11897" r="1218" b="11897"/>
          <a:stretch>
            <a:fillRect/>
          </a:stretch>
        </p:blipFill>
        <p:spPr bwMode="auto">
          <a:xfrm>
            <a:off x="5" y="9"/>
            <a:ext cx="3080147" cy="77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Text Box 6"/>
          <p:cNvSpPr txBox="1">
            <a:spLocks noChangeArrowheads="1"/>
          </p:cNvSpPr>
          <p:nvPr/>
        </p:nvSpPr>
        <p:spPr bwMode="auto">
          <a:xfrm>
            <a:off x="8533611" y="6613534"/>
            <a:ext cx="1372394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3A952B0E-D0FA-474D-9706-24147C5DD318}" type="slidenum">
              <a:rPr lang="en-GB" sz="1000" b="0" smtClean="0">
                <a:solidFill>
                  <a:srgbClr val="808284"/>
                </a:solidFill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GB" sz="1000" b="0" dirty="0" smtClean="0">
              <a:solidFill>
                <a:srgbClr val="808284"/>
              </a:solidFill>
            </a:endParaRPr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2431" y="1160472"/>
            <a:ext cx="916305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sub title style </a:t>
            </a:r>
          </a:p>
        </p:txBody>
      </p:sp>
      <p:sp>
        <p:nvSpPr>
          <p:cNvPr id="20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2753" y="1974850"/>
            <a:ext cx="9142413" cy="444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6" name="Picture 2" descr="White Title B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1"/>
            <a:ext cx="3019644" cy="100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White Title BG"/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84" b="-14384"/>
          <a:stretch/>
        </p:blipFill>
        <p:spPr bwMode="auto">
          <a:xfrm>
            <a:off x="0" y="1"/>
            <a:ext cx="3019644" cy="100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Line 5"/>
          <p:cNvSpPr>
            <a:spLocks noChangeShapeType="1"/>
          </p:cNvSpPr>
          <p:nvPr/>
        </p:nvSpPr>
        <p:spPr bwMode="auto">
          <a:xfrm>
            <a:off x="401638" y="744465"/>
            <a:ext cx="9101138" cy="0"/>
          </a:xfrm>
          <a:prstGeom prst="line">
            <a:avLst/>
          </a:prstGeom>
          <a:noFill/>
          <a:ln w="19050">
            <a:solidFill>
              <a:srgbClr val="80828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11" name="TextBox 7"/>
          <p:cNvSpPr txBox="1">
            <a:spLocks noChangeArrowheads="1"/>
          </p:cNvSpPr>
          <p:nvPr/>
        </p:nvSpPr>
        <p:spPr bwMode="auto">
          <a:xfrm>
            <a:off x="401638" y="6628372"/>
            <a:ext cx="4827587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GB" sz="900" dirty="0"/>
              <a:t>Company </a:t>
            </a:r>
            <a:r>
              <a:rPr lang="en-GB" sz="900" dirty="0" smtClean="0"/>
              <a:t>Confidential</a:t>
            </a: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1147307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208" r:id="rId1"/>
    <p:sldLayoutId id="2147490209" r:id="rId2"/>
    <p:sldLayoutId id="2147490210" r:id="rId3"/>
    <p:sldLayoutId id="2147490211" r:id="rId4"/>
    <p:sldLayoutId id="2147490212" r:id="rId5"/>
    <p:sldLayoutId id="2147490213" r:id="rId6"/>
    <p:sldLayoutId id="2147490214" r:id="rId7"/>
    <p:sldLayoutId id="2147490215" r:id="rId8"/>
    <p:sldLayoutId id="2147490216" r:id="rId9"/>
    <p:sldLayoutId id="2147490217" r:id="rId10"/>
    <p:sldLayoutId id="2147490218" r:id="rId11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20000"/>
        </a:spcAft>
        <a:buFont typeface="Expert Sans Regular" pitchFamily="34" charset="0"/>
        <a:buChar char="−"/>
        <a:defRPr sz="12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§"/>
        <a:defRPr sz="12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ú"/>
        <a:defRPr sz="1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Bar_06_COL_POS [Converted].pn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7" y="6410333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55652" y="384183"/>
            <a:ext cx="87344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tit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3593" y="1095375"/>
            <a:ext cx="8670925" cy="213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029" name="Line 32"/>
          <p:cNvSpPr>
            <a:spLocks noChangeShapeType="1"/>
          </p:cNvSpPr>
          <p:nvPr/>
        </p:nvSpPr>
        <p:spPr bwMode="auto">
          <a:xfrm>
            <a:off x="735017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900" b="0" dirty="0" smtClean="0">
              <a:solidFill>
                <a:srgbClr val="00AE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3606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220" r:id="rId1"/>
    <p:sldLayoutId id="2147490221" r:id="rId2"/>
    <p:sldLayoutId id="2147490222" r:id="rId3"/>
    <p:sldLayoutId id="2147490223" r:id="rId4"/>
    <p:sldLayoutId id="2147490224" r:id="rId5"/>
    <p:sldLayoutId id="2147490225" r:id="rId6"/>
    <p:sldLayoutId id="2147490226" r:id="rId7"/>
    <p:sldLayoutId id="2147490227" r:id="rId8"/>
    <p:sldLayoutId id="2147490228" r:id="rId9"/>
    <p:sldLayoutId id="2147490229" r:id="rId10"/>
    <p:sldLayoutId id="2147490230" r:id="rId11"/>
    <p:sldLayoutId id="2147490231" r:id="rId12"/>
    <p:sldLayoutId id="2147490232" r:id="rId13"/>
    <p:sldLayoutId id="2147490233" r:id="rId14"/>
    <p:sldLayoutId id="2147490234" r:id="rId15"/>
  </p:sldLayoutIdLst>
  <p:transition/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2pPr>
      <a:lvl3pPr marL="568325" indent="-3333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3pPr>
      <a:lvl4pPr marL="858838" indent="-290513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4pPr>
      <a:lvl5pPr marL="1204913" indent="-3460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5pPr>
      <a:lvl6pPr marL="24606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6pPr>
      <a:lvl7pPr marL="29178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7pPr>
      <a:lvl8pPr marL="33750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8pPr>
      <a:lvl9pPr marL="38322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hite Title B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0"/>
            <a:ext cx="3279775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3225" y="1160473"/>
            <a:ext cx="916305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sub title style 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2753" y="1974850"/>
            <a:ext cx="9142413" cy="444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0" name="Text Box 6"/>
          <p:cNvSpPr txBox="1">
            <a:spLocks noChangeArrowheads="1"/>
          </p:cNvSpPr>
          <p:nvPr/>
        </p:nvSpPr>
        <p:spPr bwMode="auto">
          <a:xfrm>
            <a:off x="8534400" y="6613535"/>
            <a:ext cx="1371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174BB9EC-E004-4F94-8034-BB5273A71642}" type="slidenum">
              <a:rPr lang="en-GB" sz="1000" b="0" smtClean="0">
                <a:solidFill>
                  <a:srgbClr val="808284"/>
                </a:solidFill>
                <a:latin typeface="Arial" charset="0"/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GB" sz="1000" b="0" dirty="0" smtClean="0">
              <a:solidFill>
                <a:srgbClr val="808284"/>
              </a:solidFill>
              <a:latin typeface="Arial" charset="0"/>
            </a:endParaRPr>
          </a:p>
        </p:txBody>
      </p:sp>
      <p:pic>
        <p:nvPicPr>
          <p:cNvPr id="7" name="Picture 2" descr="White Title B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1"/>
            <a:ext cx="3019644" cy="100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White Title BG"/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84" b="-14384"/>
          <a:stretch/>
        </p:blipFill>
        <p:spPr bwMode="auto">
          <a:xfrm>
            <a:off x="0" y="1"/>
            <a:ext cx="3019644" cy="100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Line 5"/>
          <p:cNvSpPr>
            <a:spLocks noChangeShapeType="1"/>
          </p:cNvSpPr>
          <p:nvPr/>
        </p:nvSpPr>
        <p:spPr bwMode="auto">
          <a:xfrm>
            <a:off x="401638" y="744465"/>
            <a:ext cx="9101138" cy="0"/>
          </a:xfrm>
          <a:prstGeom prst="line">
            <a:avLst/>
          </a:prstGeom>
          <a:noFill/>
          <a:ln w="19050">
            <a:solidFill>
              <a:srgbClr val="80828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14" name="TextBox 7"/>
          <p:cNvSpPr txBox="1">
            <a:spLocks noChangeArrowheads="1"/>
          </p:cNvSpPr>
          <p:nvPr/>
        </p:nvSpPr>
        <p:spPr bwMode="auto">
          <a:xfrm>
            <a:off x="401638" y="6628372"/>
            <a:ext cx="4827587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GB" sz="900" dirty="0"/>
              <a:t>Company </a:t>
            </a:r>
            <a:r>
              <a:rPr lang="en-GB" sz="900" dirty="0" smtClean="0"/>
              <a:t>Confidential</a:t>
            </a: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4265090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236" r:id="rId1"/>
    <p:sldLayoutId id="2147490237" r:id="rId2"/>
    <p:sldLayoutId id="2147490238" r:id="rId3"/>
    <p:sldLayoutId id="2147490239" r:id="rId4"/>
    <p:sldLayoutId id="2147490240" r:id="rId5"/>
    <p:sldLayoutId id="2147490241" r:id="rId6"/>
    <p:sldLayoutId id="2147490242" r:id="rId7"/>
    <p:sldLayoutId id="2147490243" r:id="rId8"/>
    <p:sldLayoutId id="2147490244" r:id="rId9"/>
    <p:sldLayoutId id="2147490245" r:id="rId10"/>
    <p:sldLayoutId id="2147490246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20000"/>
        </a:spcAft>
        <a:buFont typeface="Expert Sans Regular" pitchFamily="34" charset="0"/>
        <a:buChar char="−"/>
        <a:defRPr sz="12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§"/>
        <a:defRPr sz="12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ú"/>
        <a:defRPr sz="1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5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37.png"/><Relationship Id="rId7" Type="http://schemas.openxmlformats.org/officeDocument/2006/relationships/diagramColors" Target="../diagrams/colors9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1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3" Type="http://schemas.openxmlformats.org/officeDocument/2006/relationships/image" Target="../media/image37.png"/><Relationship Id="rId7" Type="http://schemas.openxmlformats.org/officeDocument/2006/relationships/diagramColors" Target="../diagrams/colors10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diagramQuickStyle" Target="../diagrams/quickStyle10.xml"/><Relationship Id="rId5" Type="http://schemas.openxmlformats.org/officeDocument/2006/relationships/diagramLayout" Target="../diagrams/layout10.xml"/><Relationship Id="rId4" Type="http://schemas.openxmlformats.org/officeDocument/2006/relationships/diagramData" Target="../diagrams/data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13" Type="http://schemas.openxmlformats.org/officeDocument/2006/relationships/image" Target="../media/image15.jpeg"/><Relationship Id="rId3" Type="http://schemas.openxmlformats.org/officeDocument/2006/relationships/image" Target="../media/image11.png"/><Relationship Id="rId7" Type="http://schemas.openxmlformats.org/officeDocument/2006/relationships/chart" Target="../charts/chart1.xml"/><Relationship Id="rId12" Type="http://schemas.openxmlformats.org/officeDocument/2006/relationships/chart" Target="../charts/chart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emf"/><Relationship Id="rId11" Type="http://schemas.openxmlformats.org/officeDocument/2006/relationships/chart" Target="../charts/chart5.xml"/><Relationship Id="rId5" Type="http://schemas.openxmlformats.org/officeDocument/2006/relationships/image" Target="../media/image13.emf"/><Relationship Id="rId10" Type="http://schemas.openxmlformats.org/officeDocument/2006/relationships/chart" Target="../charts/chart4.xml"/><Relationship Id="rId4" Type="http://schemas.openxmlformats.org/officeDocument/2006/relationships/image" Target="../media/image12.emf"/><Relationship Id="rId9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18" Type="http://schemas.openxmlformats.org/officeDocument/2006/relationships/image" Target="../media/image25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image" Target="../media/image20.png"/><Relationship Id="rId17" Type="http://schemas.openxmlformats.org/officeDocument/2006/relationships/image" Target="../media/image24.jp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19.png"/><Relationship Id="rId5" Type="http://schemas.openxmlformats.org/officeDocument/2006/relationships/diagramQuickStyle" Target="../diagrams/quickStyle2.xml"/><Relationship Id="rId15" Type="http://schemas.openxmlformats.org/officeDocument/2006/relationships/image" Target="../media/image23.png"/><Relationship Id="rId10" Type="http://schemas.openxmlformats.org/officeDocument/2006/relationships/image" Target="../media/image18.png"/><Relationship Id="rId19" Type="http://schemas.openxmlformats.org/officeDocument/2006/relationships/image" Target="../media/image26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17.png"/><Relationship Id="rId14" Type="http://schemas.openxmlformats.org/officeDocument/2006/relationships/image" Target="../media/image22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13" Type="http://schemas.openxmlformats.org/officeDocument/2006/relationships/diagramLayout" Target="../diagrams/layout5.xml"/><Relationship Id="rId18" Type="http://schemas.openxmlformats.org/officeDocument/2006/relationships/diagramLayout" Target="../diagrams/layout6.xml"/><Relationship Id="rId26" Type="http://schemas.microsoft.com/office/2007/relationships/diagramDrawing" Target="../diagrams/drawing7.xml"/><Relationship Id="rId3" Type="http://schemas.openxmlformats.org/officeDocument/2006/relationships/diagramLayout" Target="../diagrams/layout3.xml"/><Relationship Id="rId21" Type="http://schemas.microsoft.com/office/2007/relationships/diagramDrawing" Target="../diagrams/drawing6.xml"/><Relationship Id="rId7" Type="http://schemas.openxmlformats.org/officeDocument/2006/relationships/diagramData" Target="../diagrams/data4.xml"/><Relationship Id="rId12" Type="http://schemas.openxmlformats.org/officeDocument/2006/relationships/diagramData" Target="../diagrams/data5.xml"/><Relationship Id="rId17" Type="http://schemas.openxmlformats.org/officeDocument/2006/relationships/diagramData" Target="../diagrams/data6.xml"/><Relationship Id="rId25" Type="http://schemas.openxmlformats.org/officeDocument/2006/relationships/diagramColors" Target="../diagrams/colors7.xml"/><Relationship Id="rId2" Type="http://schemas.openxmlformats.org/officeDocument/2006/relationships/diagramData" Target="../diagrams/data3.xml"/><Relationship Id="rId16" Type="http://schemas.microsoft.com/office/2007/relationships/diagramDrawing" Target="../diagrams/drawing5.xml"/><Relationship Id="rId20" Type="http://schemas.openxmlformats.org/officeDocument/2006/relationships/diagramColors" Target="../diagrams/colors6.xml"/><Relationship Id="rId29" Type="http://schemas.openxmlformats.org/officeDocument/2006/relationships/diagramQuickStyle" Target="../diagrams/quickStyle8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24" Type="http://schemas.openxmlformats.org/officeDocument/2006/relationships/diagramQuickStyle" Target="../diagrams/quickStyle7.xml"/><Relationship Id="rId5" Type="http://schemas.openxmlformats.org/officeDocument/2006/relationships/diagramColors" Target="../diagrams/colors3.xml"/><Relationship Id="rId15" Type="http://schemas.openxmlformats.org/officeDocument/2006/relationships/diagramColors" Target="../diagrams/colors5.xml"/><Relationship Id="rId23" Type="http://schemas.openxmlformats.org/officeDocument/2006/relationships/diagramLayout" Target="../diagrams/layout7.xml"/><Relationship Id="rId28" Type="http://schemas.openxmlformats.org/officeDocument/2006/relationships/diagramLayout" Target="../diagrams/layout8.xml"/><Relationship Id="rId10" Type="http://schemas.openxmlformats.org/officeDocument/2006/relationships/diagramColors" Target="../diagrams/colors4.xml"/><Relationship Id="rId19" Type="http://schemas.openxmlformats.org/officeDocument/2006/relationships/diagramQuickStyle" Target="../diagrams/quickStyle6.xml"/><Relationship Id="rId31" Type="http://schemas.microsoft.com/office/2007/relationships/diagramDrawing" Target="../diagrams/drawing8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Relationship Id="rId14" Type="http://schemas.openxmlformats.org/officeDocument/2006/relationships/diagramQuickStyle" Target="../diagrams/quickStyle5.xml"/><Relationship Id="rId22" Type="http://schemas.openxmlformats.org/officeDocument/2006/relationships/diagramData" Target="../diagrams/data7.xml"/><Relationship Id="rId27" Type="http://schemas.openxmlformats.org/officeDocument/2006/relationships/diagramData" Target="../diagrams/data8.xml"/><Relationship Id="rId30" Type="http://schemas.openxmlformats.org/officeDocument/2006/relationships/diagramColors" Target="../diagrams/colors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966185" y="2677212"/>
            <a:ext cx="6604343" cy="492443"/>
          </a:xfrm>
        </p:spPr>
        <p:txBody>
          <a:bodyPr>
            <a:noAutofit/>
          </a:bodyPr>
          <a:lstStyle/>
          <a:p>
            <a:r>
              <a:rPr lang="en-US" sz="2800" b="1" dirty="0" err="1" smtClean="0">
                <a:solidFill>
                  <a:srgbClr val="00B0F0"/>
                </a:solidFill>
                <a:latin typeface="Expert Sans Regular" panose="020B0503030103020204" pitchFamily="34" charset="0"/>
              </a:rPr>
              <a:t>DevOps</a:t>
            </a:r>
            <a:r>
              <a:rPr lang="en-US" sz="2800" b="1" dirty="0" smtClean="0">
                <a:solidFill>
                  <a:srgbClr val="00B0F0"/>
                </a:solidFill>
                <a:latin typeface="Expert Sans Regular" panose="020B0503030103020204" pitchFamily="34" charset="0"/>
              </a:rPr>
              <a:t> Transformation Journey</a:t>
            </a:r>
            <a:endParaRPr lang="en-US" sz="2800" b="1" dirty="0">
              <a:solidFill>
                <a:srgbClr val="00B0F0"/>
              </a:solidFill>
              <a:latin typeface="Expert Sans Regular" panose="020B0503030103020204" pitchFamily="34" charset="0"/>
            </a:endParaRPr>
          </a:p>
        </p:txBody>
      </p:sp>
      <p:sp>
        <p:nvSpPr>
          <p:cNvPr id="9" name="TextBox 7"/>
          <p:cNvSpPr txBox="1">
            <a:spLocks noChangeArrowheads="1"/>
          </p:cNvSpPr>
          <p:nvPr/>
        </p:nvSpPr>
        <p:spPr bwMode="auto">
          <a:xfrm>
            <a:off x="401638" y="6628372"/>
            <a:ext cx="4827587" cy="140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9pPr>
          </a:lstStyle>
          <a:p>
            <a:pPr defTabSz="45694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sz="900" b="1" dirty="0">
                <a:solidFill>
                  <a:srgbClr val="808284"/>
                </a:solidFill>
              </a:rPr>
              <a:t>Company Confidential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sz="quarter" idx="1"/>
          </p:nvPr>
        </p:nvSpPr>
        <p:spPr/>
        <p:txBody>
          <a:bodyPr>
            <a:noAutofit/>
          </a:bodyPr>
          <a:lstStyle/>
          <a:p>
            <a:endParaRPr lang="en-GB" i="1" dirty="0">
              <a:solidFill>
                <a:srgbClr val="00B0F0"/>
              </a:solidFill>
              <a:latin typeface="Expert Sans Regular" panose="020B0503030103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995338" y="2852936"/>
            <a:ext cx="1716191" cy="576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5338" y="2815438"/>
            <a:ext cx="1716191" cy="3624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7800317" y="1650178"/>
            <a:ext cx="273030" cy="25709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657896" y="1802578"/>
            <a:ext cx="273030" cy="25709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896549" y="1988840"/>
            <a:ext cx="0" cy="2088232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7839321" y="1988840"/>
            <a:ext cx="0" cy="2088232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5"/>
          <p:cNvSpPr txBox="1">
            <a:spLocks noChangeArrowheads="1"/>
          </p:cNvSpPr>
          <p:nvPr/>
        </p:nvSpPr>
        <p:spPr bwMode="auto">
          <a:xfrm>
            <a:off x="966179" y="4532146"/>
            <a:ext cx="6076950" cy="153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20000"/>
              </a:spcAft>
              <a:buFont typeface="Wingdings" pitchFamily="2" charset="2"/>
              <a:buNone/>
              <a:defRPr sz="2000" b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20000"/>
              </a:spcAft>
              <a:buFont typeface="Expert Sans Regular" pitchFamily="34" charset="0"/>
              <a:buChar char="−"/>
              <a:defRPr sz="12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20000"/>
              </a:spcAft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20000"/>
              </a:spcAft>
              <a:buFont typeface="Wingdings" pitchFamily="2" charset="2"/>
              <a:buChar char="ú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20000"/>
              </a:spcAft>
              <a:buChar char="•"/>
              <a:defRPr sz="12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20000"/>
              </a:spcAft>
              <a:buChar char="•"/>
              <a:defRPr sz="12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20000"/>
              </a:spcAft>
              <a:buChar char="•"/>
              <a:defRPr sz="12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20000"/>
              </a:spcAft>
              <a:buChar char="•"/>
              <a:defRPr sz="12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20000"/>
              </a:spcAft>
              <a:buChar char="•"/>
              <a:defRPr sz="12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eaLnBrk="1" hangingPunct="1"/>
            <a:r>
              <a:rPr lang="en-GB" sz="1400" dirty="0" smtClean="0">
                <a:solidFill>
                  <a:schemeClr val="tx1"/>
                </a:solidFill>
              </a:rPr>
              <a:t>Date  18</a:t>
            </a:r>
            <a:r>
              <a:rPr lang="en-GB" sz="1400" baseline="30000" dirty="0" smtClean="0">
                <a:solidFill>
                  <a:schemeClr val="tx1"/>
                </a:solidFill>
              </a:rPr>
              <a:t>th</a:t>
            </a:r>
            <a:r>
              <a:rPr lang="en-GB" sz="1400" dirty="0" smtClean="0">
                <a:solidFill>
                  <a:schemeClr val="tx1"/>
                </a:solidFill>
              </a:rPr>
              <a:t> June 2015</a:t>
            </a:r>
          </a:p>
          <a:p>
            <a:pPr eaLnBrk="1" hangingPunct="1"/>
            <a:r>
              <a:rPr lang="en-GB" sz="1400" smtClean="0">
                <a:solidFill>
                  <a:schemeClr val="tx1"/>
                </a:solidFill>
              </a:rPr>
              <a:t>Version </a:t>
            </a:r>
            <a:r>
              <a:rPr lang="en-GB" sz="1400" smtClean="0">
                <a:solidFill>
                  <a:schemeClr val="tx1"/>
                </a:solidFill>
              </a:rPr>
              <a:t>0.026</a:t>
            </a:r>
            <a:endParaRPr lang="en-GB" sz="1400" dirty="0" smtClean="0">
              <a:solidFill>
                <a:schemeClr val="tx1"/>
              </a:solidFill>
            </a:endParaRPr>
          </a:p>
          <a:p>
            <a:pPr eaLnBrk="1" hangingPunct="1"/>
            <a:r>
              <a:rPr lang="en-GB" sz="1400" dirty="0" smtClean="0">
                <a:solidFill>
                  <a:schemeClr val="tx1"/>
                </a:solidFill>
              </a:rPr>
              <a:t>Reviewer: TBD</a:t>
            </a:r>
          </a:p>
          <a:p>
            <a:pPr eaLnBrk="1" hangingPunct="1"/>
            <a:r>
              <a:rPr lang="en-GB" sz="1400" dirty="0" smtClean="0">
                <a:solidFill>
                  <a:schemeClr val="tx1"/>
                </a:solidFill>
              </a:rPr>
              <a:t>Classification: Compan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777590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Rectangle 2"/>
          <p:cNvSpPr>
            <a:spLocks noChangeArrowheads="1"/>
          </p:cNvSpPr>
          <p:nvPr/>
        </p:nvSpPr>
        <p:spPr bwMode="auto">
          <a:xfrm>
            <a:off x="2650156" y="188915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GB" sz="2400" b="0" dirty="0" smtClean="0">
                <a:solidFill>
                  <a:srgbClr val="00A4E8"/>
                </a:solidFill>
              </a:rPr>
              <a:t>Target Operating Model</a:t>
            </a:r>
            <a:endParaRPr lang="en-US" sz="2400" b="0" dirty="0">
              <a:solidFill>
                <a:srgbClr val="00A4E8"/>
              </a:solidFill>
            </a:endParaRPr>
          </a:p>
        </p:txBody>
      </p:sp>
      <p:graphicFrame>
        <p:nvGraphicFramePr>
          <p:cNvPr id="206" name="Table 20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5586074"/>
              </p:ext>
            </p:extLst>
          </p:nvPr>
        </p:nvGraphicFramePr>
        <p:xfrm>
          <a:off x="368599" y="1734004"/>
          <a:ext cx="9350754" cy="3937329"/>
        </p:xfrm>
        <a:graphic>
          <a:graphicData uri="http://schemas.openxmlformats.org/drawingml/2006/table">
            <a:tbl>
              <a:tblPr/>
              <a:tblGrid>
                <a:gridCol w="1335822"/>
                <a:gridCol w="1335822"/>
                <a:gridCol w="1335822"/>
                <a:gridCol w="1335822"/>
                <a:gridCol w="1335822"/>
                <a:gridCol w="1335822"/>
                <a:gridCol w="1335822"/>
              </a:tblGrid>
              <a:tr h="703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9pPr>
                    </a:lstStyle>
                    <a:p>
                      <a:endParaRPr lang="en-US" sz="1600" dirty="0"/>
                    </a:p>
                  </a:txBody>
                  <a:tcPr marL="121920" marR="121920" marT="60960" marB="60960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121920" marR="121920" marT="60960" marB="60960">
                    <a:lnL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9pPr>
                    </a:lstStyle>
                    <a:p>
                      <a:endParaRPr lang="en-US" sz="1600" dirty="0"/>
                    </a:p>
                  </a:txBody>
                  <a:tcPr marL="121920" marR="121920" marT="60960" marB="60960">
                    <a:lnL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121920" marR="121920" marT="60960" marB="60960">
                    <a:lnL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121920" marR="121920" marT="60960" marB="60960">
                    <a:lnL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9pPr>
                    </a:lstStyle>
                    <a:p>
                      <a:endParaRPr lang="en-US" sz="1600"/>
                    </a:p>
                  </a:txBody>
                  <a:tcPr marL="121920" marR="121920" marT="60960" marB="60960">
                    <a:lnL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9pPr>
                    </a:lstStyle>
                    <a:p>
                      <a:endParaRPr lang="en-US" sz="1600" dirty="0"/>
                    </a:p>
                  </a:txBody>
                  <a:tcPr marL="121920" marR="121920" marT="60960" marB="60960">
                    <a:lnL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39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100" b="1" dirty="0" smtClean="0">
                          <a:solidFill>
                            <a:schemeClr val="accent1"/>
                          </a:solidFill>
                          <a:latin typeface="+mn-lt"/>
                          <a:cs typeface="Calibri"/>
                        </a:rPr>
                        <a:t>Project 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100" b="1" dirty="0" smtClean="0">
                          <a:solidFill>
                            <a:schemeClr val="accent1"/>
                          </a:solidFill>
                          <a:latin typeface="+mn-lt"/>
                          <a:cs typeface="Calibri"/>
                        </a:rPr>
                        <a:t>Management</a:t>
                      </a:r>
                      <a:endParaRPr lang="en-US" sz="11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100" b="1" dirty="0" smtClean="0">
                          <a:solidFill>
                            <a:schemeClr val="accent1"/>
                          </a:solidFill>
                        </a:rPr>
                        <a:t>Environment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100" b="1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Calibri"/>
                        </a:rPr>
                        <a:t>Provisioning</a:t>
                      </a:r>
                      <a:endParaRPr lang="en-US" sz="1100" b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Calibri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100" b="1" dirty="0" smtClean="0">
                          <a:solidFill>
                            <a:schemeClr val="accent1"/>
                          </a:solidFill>
                          <a:latin typeface="+mn-lt"/>
                          <a:cs typeface="Calibri"/>
                        </a:rPr>
                        <a:t>Continuous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100" b="1" dirty="0" smtClean="0">
                          <a:solidFill>
                            <a:schemeClr val="accent1"/>
                          </a:solidFill>
                          <a:latin typeface="+mn-lt"/>
                          <a:cs typeface="Calibri"/>
                        </a:rPr>
                        <a:t>Integration</a:t>
                      </a:r>
                      <a:endParaRPr lang="en-US" sz="11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100" b="1" dirty="0" smtClean="0">
                          <a:solidFill>
                            <a:schemeClr val="accent1"/>
                          </a:solidFill>
                        </a:rPr>
                        <a:t>Test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100" b="1" dirty="0" smtClean="0">
                          <a:solidFill>
                            <a:schemeClr val="accent1"/>
                          </a:solidFill>
                        </a:rPr>
                        <a:t>Automation</a:t>
                      </a:r>
                      <a:endParaRPr lang="en-US" sz="11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100" b="1" dirty="0" smtClean="0">
                          <a:solidFill>
                            <a:schemeClr val="accent1"/>
                          </a:solidFill>
                          <a:latin typeface="+mn-lt"/>
                          <a:cs typeface="Calibri"/>
                        </a:rPr>
                        <a:t>Service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100" b="1" dirty="0" smtClean="0">
                          <a:solidFill>
                            <a:schemeClr val="accent1"/>
                          </a:solidFill>
                          <a:latin typeface="+mn-lt"/>
                          <a:cs typeface="Calibri"/>
                        </a:rPr>
                        <a:t>Virtualization</a:t>
                      </a:r>
                      <a:endParaRPr lang="en-US" sz="11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100" b="1" dirty="0" smtClean="0">
                          <a:solidFill>
                            <a:schemeClr val="accent1"/>
                          </a:solidFill>
                          <a:latin typeface="+mn-lt"/>
                          <a:cs typeface="Calibri"/>
                        </a:rPr>
                        <a:t>Logging &amp;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100" b="1" dirty="0" smtClean="0">
                          <a:solidFill>
                            <a:schemeClr val="accent1"/>
                          </a:solidFill>
                          <a:latin typeface="+mn-lt"/>
                          <a:cs typeface="Calibri"/>
                        </a:rPr>
                        <a:t>Monitoring</a:t>
                      </a:r>
                      <a:endParaRPr lang="en-US" sz="11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st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nvironment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nagement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5961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charset="2"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quirement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raceability</a:t>
                      </a:r>
                      <a:endParaRPr lang="en-US" sz="1000" b="1" kern="1200" dirty="0" smtClean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charset="2"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Self Service</a:t>
                      </a: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9pPr>
                    </a:lstStyle>
                    <a:p>
                      <a:r>
                        <a:rPr lang="en-US" sz="10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Self Service</a:t>
                      </a:r>
                    </a:p>
                    <a:p>
                      <a:r>
                        <a:rPr lang="en-US" sz="900" dirty="0" smtClean="0">
                          <a:latin typeface="+mn-lt"/>
                        </a:rPr>
                        <a:t>Infrastructure as code </a:t>
                      </a:r>
                    </a:p>
                    <a:p>
                      <a:r>
                        <a:rPr lang="en-US" sz="12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Faster, </a:t>
                      </a:r>
                      <a:r>
                        <a:rPr lang="en-US" sz="11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Automated Provisioning</a:t>
                      </a:r>
                      <a:endParaRPr lang="en-US" sz="1000" b="1" dirty="0" smtClean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</a:endParaRPr>
                    </a:p>
                    <a:p>
                      <a:r>
                        <a:rPr lang="en-US" sz="1000" dirty="0" smtClean="0">
                          <a:latin typeface="+mn-lt"/>
                        </a:rPr>
                        <a:t>Standards based</a:t>
                      </a:r>
                    </a:p>
                    <a:p>
                      <a:r>
                        <a:rPr lang="en-US" sz="9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Consistent</a:t>
                      </a:r>
                      <a:endParaRPr lang="en-US" sz="1050" b="1" dirty="0" smtClean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</a:endParaRPr>
                    </a:p>
                    <a:p>
                      <a:r>
                        <a:rPr lang="en-US" sz="105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Immutable</a:t>
                      </a:r>
                      <a:r>
                        <a:rPr lang="en-US" sz="1050" dirty="0" smtClean="0">
                          <a:latin typeface="+mn-lt"/>
                        </a:rPr>
                        <a:t> </a:t>
                      </a:r>
                      <a:r>
                        <a:rPr lang="en-US" sz="1000" dirty="0" smtClean="0">
                          <a:latin typeface="+mn-lt"/>
                        </a:rPr>
                        <a:t>servers</a:t>
                      </a:r>
                    </a:p>
                    <a:p>
                      <a:r>
                        <a:rPr lang="en-US" sz="1000" dirty="0" smtClean="0">
                          <a:latin typeface="+mn-lt"/>
                        </a:rPr>
                        <a:t>Ability to test new ideas, product upgrades, specific test scenarios with </a:t>
                      </a:r>
                      <a:r>
                        <a:rPr lang="en-US" sz="105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on-demand </a:t>
                      </a:r>
                      <a:r>
                        <a:rPr lang="en-US" sz="1000" dirty="0" smtClean="0">
                          <a:latin typeface="+mn-lt"/>
                        </a:rPr>
                        <a:t>capability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9pPr>
                    </a:lstStyle>
                    <a:p>
                      <a:r>
                        <a:rPr lang="en-US" sz="105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Automated builds, </a:t>
                      </a:r>
                      <a:r>
                        <a:rPr lang="en-US" sz="10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testing and </a:t>
                      </a:r>
                      <a:r>
                        <a:rPr lang="en-US" sz="105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deployments</a:t>
                      </a:r>
                      <a:endParaRPr lang="en-US" sz="1000" b="1" dirty="0" smtClean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</a:endParaRPr>
                    </a:p>
                    <a:p>
                      <a:r>
                        <a:rPr lang="en-US" sz="1000" dirty="0" smtClean="0">
                          <a:latin typeface="+mn-lt"/>
                        </a:rPr>
                        <a:t>Ability to </a:t>
                      </a:r>
                      <a:r>
                        <a:rPr lang="en-US" sz="105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capture, identify issues early </a:t>
                      </a:r>
                      <a:r>
                        <a:rPr lang="en-US" sz="1000" dirty="0" smtClean="0">
                          <a:latin typeface="+mn-lt"/>
                        </a:rPr>
                        <a:t>into the development cycle</a:t>
                      </a:r>
                    </a:p>
                    <a:p>
                      <a:r>
                        <a:rPr lang="en-US" sz="10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Enhanced build and release </a:t>
                      </a:r>
                      <a:r>
                        <a:rPr lang="en-US" sz="1000" dirty="0" smtClean="0">
                          <a:latin typeface="+mn-lt"/>
                        </a:rPr>
                        <a:t>processes supporting continuous delivery</a:t>
                      </a:r>
                    </a:p>
                    <a:p>
                      <a:r>
                        <a:rPr lang="en-US" sz="100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ean / Agile processes Rare</a:t>
                      </a:r>
                      <a:r>
                        <a:rPr lang="en-US" sz="10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US" sz="100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oduction</a:t>
                      </a:r>
                      <a:r>
                        <a:rPr lang="en-US" sz="10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US" sz="100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ollbacks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9pPr>
                    </a:lstStyle>
                    <a:p>
                      <a:pPr marL="0" indent="0">
                        <a:lnSpc>
                          <a:spcPct val="90000"/>
                        </a:lnSpc>
                        <a:buClr>
                          <a:schemeClr val="accent1"/>
                        </a:buClr>
                        <a:buFont typeface="Wingdings" charset="2"/>
                        <a:buNone/>
                      </a:pP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utomated smoke, regression, performance </a:t>
                      </a:r>
                      <a:r>
                        <a:rPr lang="en-US" sz="1000" dirty="0" smtClean="0">
                          <a:latin typeface="+mn-lt"/>
                        </a:rPr>
                        <a:t>and security test</a:t>
                      </a:r>
                    </a:p>
                    <a:p>
                      <a:pPr marL="0" indent="0">
                        <a:lnSpc>
                          <a:spcPct val="90000"/>
                        </a:lnSpc>
                        <a:buClr>
                          <a:schemeClr val="accent1"/>
                        </a:buClr>
                        <a:buFont typeface="Wingdings" charset="2"/>
                        <a:buNone/>
                      </a:pPr>
                      <a:r>
                        <a:rPr lang="en-US" sz="110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ail Fast and fail early </a:t>
                      </a:r>
                      <a:r>
                        <a:rPr lang="en-US" sz="1000" dirty="0" smtClean="0">
                          <a:latin typeface="+mn-lt"/>
                        </a:rPr>
                        <a:t>in a release cycle</a:t>
                      </a:r>
                    </a:p>
                    <a:p>
                      <a:pPr marL="0" indent="0">
                        <a:lnSpc>
                          <a:spcPct val="90000"/>
                        </a:lnSpc>
                        <a:buClr>
                          <a:schemeClr val="accent1"/>
                        </a:buClr>
                        <a:buFont typeface="Wingdings" charset="2"/>
                        <a:buNone/>
                      </a:pP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hift</a:t>
                      </a:r>
                      <a:r>
                        <a:rPr lang="en-US" sz="1000" dirty="0" smtClean="0">
                          <a:latin typeface="+mn-lt"/>
                        </a:rPr>
                        <a:t>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eft</a:t>
                      </a:r>
                      <a:r>
                        <a:rPr lang="en-US" sz="1000" dirty="0" smtClean="0">
                          <a:latin typeface="+mn-lt"/>
                        </a:rPr>
                        <a:t> </a:t>
                      </a:r>
                    </a:p>
                    <a:p>
                      <a:pPr marL="0" indent="0">
                        <a:lnSpc>
                          <a:spcPct val="90000"/>
                        </a:lnSpc>
                        <a:buClr>
                          <a:schemeClr val="accent1"/>
                        </a:buClr>
                        <a:buFont typeface="Wingdings" charset="2"/>
                        <a:buNone/>
                      </a:pP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aster</a:t>
                      </a:r>
                      <a:r>
                        <a:rPr lang="en-US" sz="1000" dirty="0" smtClean="0">
                          <a:latin typeface="+mn-lt"/>
                        </a:rPr>
                        <a:t>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est</a:t>
                      </a:r>
                      <a:r>
                        <a:rPr lang="en-US" sz="1000" dirty="0" smtClean="0">
                          <a:latin typeface="+mn-lt"/>
                        </a:rPr>
                        <a:t> cycles</a:t>
                      </a:r>
                    </a:p>
                    <a:p>
                      <a:pPr marL="0" indent="0">
                        <a:lnSpc>
                          <a:spcPct val="90000"/>
                        </a:lnSpc>
                        <a:buClr>
                          <a:schemeClr val="accent1"/>
                        </a:buClr>
                        <a:buFont typeface="Wingdings" charset="2"/>
                        <a:buNone/>
                      </a:pP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mproved</a:t>
                      </a:r>
                      <a:r>
                        <a:rPr lang="en-US" sz="1000" dirty="0" smtClean="0">
                          <a:latin typeface="+mn-lt"/>
                        </a:rPr>
                        <a:t>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quality</a:t>
                      </a:r>
                      <a:r>
                        <a:rPr lang="en-US" sz="1000" dirty="0" smtClean="0">
                          <a:latin typeface="+mn-lt"/>
                        </a:rPr>
                        <a:t> and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liability</a:t>
                      </a:r>
                      <a:r>
                        <a:rPr lang="en-US" sz="1000" dirty="0" smtClean="0">
                          <a:latin typeface="+mn-lt"/>
                        </a:rPr>
                        <a:t> of software delivery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charset="2"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are</a:t>
                      </a:r>
                      <a:r>
                        <a:rPr lang="en-US" sz="10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US" sz="10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Defects on </a:t>
                      </a:r>
                      <a:r>
                        <a:rPr lang="en-US" sz="100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oduction</a:t>
                      </a:r>
                    </a:p>
                    <a:p>
                      <a:pPr marL="0" indent="0">
                        <a:lnSpc>
                          <a:spcPct val="90000"/>
                        </a:lnSpc>
                        <a:buClr>
                          <a:schemeClr val="accent1"/>
                        </a:buClr>
                        <a:buFont typeface="Wingdings" charset="2"/>
                        <a:buNone/>
                      </a:pPr>
                      <a:endParaRPr lang="en-US" sz="1000" dirty="0"/>
                    </a:p>
                  </a:txBody>
                  <a:tcPr marL="121920" marR="121920" marT="60960" marB="60960">
                    <a:lnL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9pPr>
                    </a:lstStyle>
                    <a:p>
                      <a:pPr marL="0" indent="0">
                        <a:lnSpc>
                          <a:spcPct val="90000"/>
                        </a:lnSpc>
                        <a:buClr>
                          <a:schemeClr val="accent1"/>
                        </a:buClr>
                        <a:buFont typeface="Wingdings" charset="2"/>
                        <a:buNone/>
                      </a:pPr>
                      <a:r>
                        <a:rPr lang="en-US" sz="1000" dirty="0" smtClean="0">
                          <a:latin typeface="+mn-lt"/>
                        </a:rPr>
                        <a:t>Ability to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est</a:t>
                      </a:r>
                      <a:r>
                        <a:rPr lang="en-US" sz="1000" dirty="0" smtClean="0">
                          <a:latin typeface="+mn-lt"/>
                        </a:rPr>
                        <a:t>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ndependently</a:t>
                      </a:r>
                      <a:r>
                        <a:rPr lang="en-US" sz="1000" dirty="0" smtClean="0">
                          <a:latin typeface="+mn-lt"/>
                        </a:rPr>
                        <a:t> </a:t>
                      </a:r>
                    </a:p>
                    <a:p>
                      <a:pPr marL="0" indent="0">
                        <a:lnSpc>
                          <a:spcPct val="90000"/>
                        </a:lnSpc>
                        <a:buClr>
                          <a:schemeClr val="accent1"/>
                        </a:buClr>
                        <a:buFont typeface="Wingdings" charset="2"/>
                        <a:buNone/>
                      </a:pPr>
                      <a:r>
                        <a:rPr lang="en-US" sz="1000" dirty="0" smtClean="0">
                          <a:latin typeface="+mn-lt"/>
                        </a:rPr>
                        <a:t> Ability to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est</a:t>
                      </a:r>
                      <a:r>
                        <a:rPr lang="en-US" sz="1000" dirty="0" smtClean="0">
                          <a:latin typeface="+mn-lt"/>
                        </a:rPr>
                        <a:t> against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egacy</a:t>
                      </a:r>
                      <a:r>
                        <a:rPr lang="en-US" sz="1000" dirty="0" smtClean="0">
                          <a:latin typeface="+mn-lt"/>
                        </a:rPr>
                        <a:t> or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ew</a:t>
                      </a:r>
                      <a:r>
                        <a:rPr lang="en-US" sz="1000" dirty="0" smtClean="0">
                          <a:latin typeface="+mn-lt"/>
                        </a:rPr>
                        <a:t>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versions</a:t>
                      </a:r>
                      <a:r>
                        <a:rPr lang="en-US" sz="1000" dirty="0" smtClean="0">
                          <a:latin typeface="+mn-lt"/>
                        </a:rPr>
                        <a:t> of upstream / downstream systems</a:t>
                      </a:r>
                    </a:p>
                    <a:p>
                      <a:pPr marL="0" indent="0">
                        <a:lnSpc>
                          <a:spcPct val="90000"/>
                        </a:lnSpc>
                        <a:buClr>
                          <a:schemeClr val="accent1"/>
                        </a:buClr>
                        <a:buFont typeface="Wingdings" charset="2"/>
                        <a:buNone/>
                      </a:pP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ess</a:t>
                      </a:r>
                      <a:r>
                        <a:rPr lang="en-US" sz="1000" dirty="0" smtClean="0">
                          <a:latin typeface="+mn-lt"/>
                        </a:rPr>
                        <a:t>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ependency</a:t>
                      </a:r>
                      <a:r>
                        <a:rPr lang="en-US" sz="1000" dirty="0" smtClean="0">
                          <a:latin typeface="+mn-lt"/>
                        </a:rPr>
                        <a:t>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n</a:t>
                      </a:r>
                      <a:r>
                        <a:rPr lang="en-US" sz="1000" dirty="0" smtClean="0">
                          <a:latin typeface="+mn-lt"/>
                        </a:rPr>
                        <a:t>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ull</a:t>
                      </a:r>
                      <a:r>
                        <a:rPr lang="en-US" sz="1000" dirty="0" smtClean="0">
                          <a:latin typeface="+mn-lt"/>
                        </a:rPr>
                        <a:t>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tack</a:t>
                      </a:r>
                      <a:r>
                        <a:rPr lang="en-US" sz="1000" dirty="0" smtClean="0">
                          <a:latin typeface="+mn-lt"/>
                        </a:rPr>
                        <a:t> of environments for test phases</a:t>
                      </a:r>
                    </a:p>
                    <a:p>
                      <a:pPr marL="171450" indent="-171450">
                        <a:lnSpc>
                          <a:spcPct val="90000"/>
                        </a:lnSpc>
                        <a:buClr>
                          <a:schemeClr val="accent1"/>
                        </a:buClr>
                        <a:buFont typeface="Wingdings" charset="2"/>
                        <a:buChar char="§"/>
                      </a:pPr>
                      <a:endParaRPr lang="en-US" sz="1000" dirty="0"/>
                    </a:p>
                  </a:txBody>
                  <a:tcPr marL="121920" marR="121920" marT="60960" marB="60960">
                    <a:lnL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9pPr>
                    </a:lstStyle>
                    <a:p>
                      <a:pPr marL="0" indent="0">
                        <a:lnSpc>
                          <a:spcPct val="90000"/>
                        </a:lnSpc>
                        <a:buClr>
                          <a:schemeClr val="accent1"/>
                        </a:buClr>
                        <a:buFont typeface="Wingdings" charset="2"/>
                        <a:buNone/>
                      </a:pP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mplete</a:t>
                      </a:r>
                      <a:r>
                        <a:rPr lang="en-US" sz="1000" dirty="0" smtClean="0">
                          <a:latin typeface="+mn-lt"/>
                        </a:rPr>
                        <a:t>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view</a:t>
                      </a:r>
                      <a:r>
                        <a:rPr lang="en-US" sz="1000" dirty="0" smtClean="0">
                          <a:latin typeface="+mn-lt"/>
                        </a:rPr>
                        <a:t> of the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mpact</a:t>
                      </a:r>
                      <a:r>
                        <a:rPr lang="en-US" sz="1000" dirty="0" smtClean="0">
                          <a:latin typeface="+mn-lt"/>
                        </a:rPr>
                        <a:t> of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hange</a:t>
                      </a:r>
                      <a:r>
                        <a:rPr lang="en-US" sz="1000" dirty="0" smtClean="0">
                          <a:latin typeface="+mn-lt"/>
                        </a:rPr>
                        <a:t> per code / </a:t>
                      </a:r>
                      <a:r>
                        <a:rPr lang="en-US" sz="1000" dirty="0" err="1" smtClean="0">
                          <a:latin typeface="+mn-lt"/>
                        </a:rPr>
                        <a:t>config</a:t>
                      </a:r>
                      <a:r>
                        <a:rPr lang="en-US" sz="1000" dirty="0" smtClean="0">
                          <a:latin typeface="+mn-lt"/>
                        </a:rPr>
                        <a:t> change</a:t>
                      </a:r>
                    </a:p>
                    <a:p>
                      <a:pPr marL="0" indent="0">
                        <a:lnSpc>
                          <a:spcPct val="90000"/>
                        </a:lnSpc>
                        <a:buClr>
                          <a:schemeClr val="accent1"/>
                        </a:buClr>
                        <a:buFont typeface="Wingdings" charset="2"/>
                        <a:buNone/>
                      </a:pPr>
                      <a:r>
                        <a:rPr lang="en-US" sz="1000" dirty="0" smtClean="0">
                          <a:latin typeface="+mn-lt"/>
                        </a:rPr>
                        <a:t>Ability to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dentify</a:t>
                      </a:r>
                      <a:r>
                        <a:rPr lang="en-US" sz="1000" dirty="0" smtClean="0">
                          <a:latin typeface="+mn-lt"/>
                        </a:rPr>
                        <a:t>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otential</a:t>
                      </a:r>
                      <a:r>
                        <a:rPr lang="en-US" sz="1000" dirty="0" smtClean="0">
                          <a:latin typeface="+mn-lt"/>
                        </a:rPr>
                        <a:t>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erformance</a:t>
                      </a:r>
                      <a:r>
                        <a:rPr lang="en-US" sz="1000" dirty="0" smtClean="0">
                          <a:latin typeface="+mn-lt"/>
                        </a:rPr>
                        <a:t> and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ecurity</a:t>
                      </a:r>
                      <a:r>
                        <a:rPr lang="en-US" sz="1000" dirty="0" smtClean="0">
                          <a:latin typeface="+mn-lt"/>
                        </a:rPr>
                        <a:t> impacts to environments</a:t>
                      </a:r>
                    </a:p>
                    <a:p>
                      <a:pPr marL="0" indent="0">
                        <a:lnSpc>
                          <a:spcPct val="90000"/>
                        </a:lnSpc>
                        <a:buClr>
                          <a:schemeClr val="accent1"/>
                        </a:buClr>
                        <a:buFont typeface="Wingdings" charset="2"/>
                        <a:buNone/>
                      </a:pPr>
                      <a:r>
                        <a:rPr lang="en-US" sz="1000" dirty="0" smtClean="0">
                          <a:latin typeface="+mn-lt"/>
                        </a:rPr>
                        <a:t>View of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vailability</a:t>
                      </a:r>
                      <a:r>
                        <a:rPr lang="en-US" sz="1000" dirty="0" smtClean="0">
                          <a:latin typeface="+mn-lt"/>
                        </a:rPr>
                        <a:t> and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usage</a:t>
                      </a:r>
                      <a:r>
                        <a:rPr lang="en-US" sz="1000" dirty="0" smtClean="0">
                          <a:latin typeface="+mn-lt"/>
                        </a:rPr>
                        <a:t>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atterns</a:t>
                      </a:r>
                      <a:r>
                        <a:rPr lang="en-US" sz="1000" dirty="0" smtClean="0">
                          <a:latin typeface="+mn-lt"/>
                        </a:rPr>
                        <a:t> of the environments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Expert Sans Regular"/>
                        </a:defRPr>
                      </a:lvl9pPr>
                    </a:lstStyle>
                    <a:p>
                      <a:pPr marL="0" indent="0">
                        <a:lnSpc>
                          <a:spcPct val="90000"/>
                        </a:lnSpc>
                        <a:buClr>
                          <a:schemeClr val="accent1"/>
                        </a:buClr>
                        <a:buFont typeface="Wingdings" charset="2"/>
                        <a:buNone/>
                      </a:pPr>
                      <a:r>
                        <a:rPr lang="en-US" sz="1000" dirty="0" smtClean="0">
                          <a:latin typeface="+mn-lt"/>
                        </a:rPr>
                        <a:t>Ability to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quest</a:t>
                      </a:r>
                      <a:r>
                        <a:rPr lang="en-US" sz="1000" dirty="0" smtClean="0">
                          <a:latin typeface="+mn-lt"/>
                        </a:rPr>
                        <a:t>,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chedule</a:t>
                      </a:r>
                      <a:r>
                        <a:rPr lang="en-US" sz="1000" dirty="0" smtClean="0">
                          <a:latin typeface="+mn-lt"/>
                        </a:rPr>
                        <a:t>,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ook</a:t>
                      </a:r>
                      <a:r>
                        <a:rPr lang="en-US" sz="1000" dirty="0" smtClean="0">
                          <a:latin typeface="+mn-lt"/>
                        </a:rPr>
                        <a:t>,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validate</a:t>
                      </a:r>
                      <a:r>
                        <a:rPr lang="en-US" sz="1000" dirty="0" smtClean="0">
                          <a:latin typeface="+mn-lt"/>
                        </a:rPr>
                        <a:t>,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claim</a:t>
                      </a:r>
                      <a:r>
                        <a:rPr lang="en-US" sz="1000" dirty="0" smtClean="0">
                          <a:latin typeface="+mn-lt"/>
                        </a:rPr>
                        <a:t> and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hargeback</a:t>
                      </a:r>
                    </a:p>
                    <a:p>
                      <a:pPr marL="0" indent="0">
                        <a:lnSpc>
                          <a:spcPct val="90000"/>
                        </a:lnSpc>
                        <a:buClr>
                          <a:schemeClr val="accent1"/>
                        </a:buClr>
                        <a:buFont typeface="Wingdings" charset="2"/>
                        <a:buNone/>
                      </a:pP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ervice</a:t>
                      </a:r>
                      <a:r>
                        <a:rPr lang="en-US" sz="1000" dirty="0" smtClean="0">
                          <a:latin typeface="+mn-lt"/>
                        </a:rPr>
                        <a:t>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ransformation</a:t>
                      </a:r>
                    </a:p>
                    <a:p>
                      <a:pPr marL="0" indent="0">
                        <a:lnSpc>
                          <a:spcPct val="90000"/>
                        </a:lnSpc>
                        <a:buClr>
                          <a:schemeClr val="accent1"/>
                        </a:buClr>
                        <a:buFont typeface="Wingdings" charset="2"/>
                        <a:buNone/>
                      </a:pPr>
                      <a:r>
                        <a:rPr lang="en-US" sz="1000" dirty="0" smtClean="0">
                          <a:latin typeface="+mn-lt"/>
                        </a:rPr>
                        <a:t>Environment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nsolidation</a:t>
                      </a:r>
                      <a:r>
                        <a:rPr lang="en-US" sz="1000" dirty="0" smtClean="0">
                          <a:latin typeface="+mn-lt"/>
                        </a:rPr>
                        <a:t> &amp; </a:t>
                      </a:r>
                      <a:r>
                        <a:rPr lang="en-US" sz="105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ptimization</a:t>
                      </a:r>
                    </a:p>
                    <a:p>
                      <a:pPr marL="171450" indent="-171450">
                        <a:lnSpc>
                          <a:spcPct val="90000"/>
                        </a:lnSpc>
                        <a:buClr>
                          <a:schemeClr val="accent1"/>
                        </a:buClr>
                        <a:buFont typeface="Wingdings" charset="2"/>
                        <a:buChar char="§"/>
                      </a:pPr>
                      <a:endParaRPr lang="en-US" sz="1000" dirty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254" name="Group 253"/>
          <p:cNvGrpSpPr/>
          <p:nvPr/>
        </p:nvGrpSpPr>
        <p:grpSpPr>
          <a:xfrm>
            <a:off x="8672326" y="1834751"/>
            <a:ext cx="723779" cy="556631"/>
            <a:chOff x="10675491" y="1387231"/>
            <a:chExt cx="723779" cy="556631"/>
          </a:xfrm>
        </p:grpSpPr>
        <p:grpSp>
          <p:nvGrpSpPr>
            <p:cNvPr id="207" name="Group 206"/>
            <p:cNvGrpSpPr/>
            <p:nvPr/>
          </p:nvGrpSpPr>
          <p:grpSpPr>
            <a:xfrm>
              <a:off x="10862547" y="1549888"/>
              <a:ext cx="395557" cy="162259"/>
              <a:chOff x="10862547" y="1549888"/>
              <a:chExt cx="489960" cy="199900"/>
            </a:xfrm>
          </p:grpSpPr>
          <p:pic>
            <p:nvPicPr>
              <p:cNvPr id="208" name="Picture 207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116277" y="1549946"/>
                <a:ext cx="236230" cy="199842"/>
              </a:xfrm>
              <a:prstGeom prst="rect">
                <a:avLst/>
              </a:prstGeom>
            </p:spPr>
          </p:pic>
          <p:pic>
            <p:nvPicPr>
              <p:cNvPr id="209" name="Picture 208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62547" y="1549888"/>
                <a:ext cx="201983" cy="199720"/>
              </a:xfrm>
              <a:prstGeom prst="rect">
                <a:avLst/>
              </a:prstGeom>
            </p:spPr>
          </p:pic>
        </p:grpSp>
        <p:pic>
          <p:nvPicPr>
            <p:cNvPr id="210" name="Picture 20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75491" y="1387231"/>
              <a:ext cx="723779" cy="556631"/>
            </a:xfrm>
            <a:prstGeom prst="rect">
              <a:avLst/>
            </a:prstGeom>
          </p:spPr>
        </p:pic>
      </p:grpSp>
      <p:pic>
        <p:nvPicPr>
          <p:cNvPr id="211" name="Picture 2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8456" y="1914090"/>
            <a:ext cx="440757" cy="436337"/>
          </a:xfrm>
          <a:prstGeom prst="rect">
            <a:avLst/>
          </a:prstGeom>
        </p:spPr>
      </p:pic>
      <p:pic>
        <p:nvPicPr>
          <p:cNvPr id="212" name="Picture 2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1287" y="1854836"/>
            <a:ext cx="499327" cy="498039"/>
          </a:xfrm>
          <a:prstGeom prst="rect">
            <a:avLst/>
          </a:prstGeom>
        </p:spPr>
      </p:pic>
      <p:pic>
        <p:nvPicPr>
          <p:cNvPr id="213" name="Picture 2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2118" y="1912513"/>
            <a:ext cx="676581" cy="468595"/>
          </a:xfrm>
          <a:prstGeom prst="rect">
            <a:avLst/>
          </a:prstGeom>
        </p:spPr>
      </p:pic>
      <p:pic>
        <p:nvPicPr>
          <p:cNvPr id="214" name="Picture 2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932" y="1889580"/>
            <a:ext cx="479251" cy="474994"/>
          </a:xfrm>
          <a:prstGeom prst="rect">
            <a:avLst/>
          </a:prstGeom>
        </p:spPr>
      </p:pic>
      <p:pic>
        <p:nvPicPr>
          <p:cNvPr id="215" name="Picture 21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101" y="1885359"/>
            <a:ext cx="729073" cy="465068"/>
          </a:xfrm>
          <a:prstGeom prst="rect">
            <a:avLst/>
          </a:prstGeom>
        </p:spPr>
      </p:pic>
      <p:pic>
        <p:nvPicPr>
          <p:cNvPr id="216" name="Picture 2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57636" y="1893126"/>
            <a:ext cx="661464" cy="435771"/>
          </a:xfrm>
          <a:prstGeom prst="rect">
            <a:avLst/>
          </a:prstGeom>
        </p:spPr>
      </p:pic>
      <p:cxnSp>
        <p:nvCxnSpPr>
          <p:cNvPr id="217" name="Straight Connector 216"/>
          <p:cNvCxnSpPr/>
          <p:nvPr/>
        </p:nvCxnSpPr>
        <p:spPr>
          <a:xfrm>
            <a:off x="1695197" y="3067436"/>
            <a:ext cx="10313" cy="2583349"/>
          </a:xfrm>
          <a:prstGeom prst="line">
            <a:avLst/>
          </a:prstGeom>
          <a:noFill/>
          <a:ln w="12700" cap="flat" cmpd="sng" algn="ctr">
            <a:solidFill>
              <a:srgbClr val="FF6600"/>
            </a:solidFill>
            <a:prstDash val="solid"/>
          </a:ln>
          <a:effectLst/>
        </p:spPr>
      </p:cxnSp>
      <p:sp>
        <p:nvSpPr>
          <p:cNvPr id="218" name="Isosceles Triangle 217"/>
          <p:cNvSpPr/>
          <p:nvPr/>
        </p:nvSpPr>
        <p:spPr>
          <a:xfrm rot="16200000">
            <a:off x="1619505" y="2420073"/>
            <a:ext cx="197545" cy="123036"/>
          </a:xfrm>
          <a:prstGeom prst="triangle">
            <a:avLst/>
          </a:prstGeom>
          <a:solidFill>
            <a:srgbClr val="00395C">
              <a:lumMod val="50000"/>
              <a:lumOff val="50000"/>
            </a:srgbClr>
          </a:solidFill>
          <a:ln w="25400" cap="flat" cmpd="sng" algn="ctr">
            <a:gradFill flip="none" rotWithShape="1">
              <a:gsLst>
                <a:gs pos="16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16200000" scaled="1"/>
              <a:tileRect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9" name="Isosceles Triangle 218"/>
          <p:cNvSpPr/>
          <p:nvPr/>
        </p:nvSpPr>
        <p:spPr>
          <a:xfrm rot="5400000">
            <a:off x="1619505" y="1900592"/>
            <a:ext cx="197545" cy="123036"/>
          </a:xfrm>
          <a:prstGeom prst="triangle">
            <a:avLst/>
          </a:prstGeom>
          <a:solidFill>
            <a:srgbClr val="00395C">
              <a:lumMod val="50000"/>
              <a:lumOff val="50000"/>
            </a:srgbClr>
          </a:solidFill>
          <a:ln w="25400" cap="flat" cmpd="sng" algn="ctr">
            <a:gradFill flip="none" rotWithShape="1">
              <a:gsLst>
                <a:gs pos="16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16200000" scaled="1"/>
              <a:tileRect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2" name="Isosceles Triangle 241"/>
          <p:cNvSpPr/>
          <p:nvPr/>
        </p:nvSpPr>
        <p:spPr>
          <a:xfrm rot="16200000">
            <a:off x="2953430" y="2428637"/>
            <a:ext cx="197545" cy="123036"/>
          </a:xfrm>
          <a:prstGeom prst="triangle">
            <a:avLst/>
          </a:prstGeom>
          <a:solidFill>
            <a:srgbClr val="00395C">
              <a:lumMod val="50000"/>
              <a:lumOff val="50000"/>
            </a:srgbClr>
          </a:solidFill>
          <a:ln w="25400" cap="flat" cmpd="sng" algn="ctr">
            <a:gradFill flip="none" rotWithShape="1">
              <a:gsLst>
                <a:gs pos="16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16200000" scaled="1"/>
              <a:tileRect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3" name="Isosceles Triangle 242"/>
          <p:cNvSpPr/>
          <p:nvPr/>
        </p:nvSpPr>
        <p:spPr>
          <a:xfrm rot="5400000">
            <a:off x="2953430" y="1909156"/>
            <a:ext cx="197545" cy="123036"/>
          </a:xfrm>
          <a:prstGeom prst="triangle">
            <a:avLst/>
          </a:prstGeom>
          <a:solidFill>
            <a:srgbClr val="00395C">
              <a:lumMod val="50000"/>
              <a:lumOff val="50000"/>
            </a:srgbClr>
          </a:solidFill>
          <a:ln w="25400" cap="flat" cmpd="sng" algn="ctr">
            <a:gradFill flip="none" rotWithShape="1">
              <a:gsLst>
                <a:gs pos="16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16200000" scaled="1"/>
              <a:tileRect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4" name="Isosceles Triangle 243"/>
          <p:cNvSpPr/>
          <p:nvPr/>
        </p:nvSpPr>
        <p:spPr>
          <a:xfrm rot="16200000">
            <a:off x="4268525" y="2418363"/>
            <a:ext cx="197545" cy="123036"/>
          </a:xfrm>
          <a:prstGeom prst="triangle">
            <a:avLst/>
          </a:prstGeom>
          <a:solidFill>
            <a:srgbClr val="00395C">
              <a:lumMod val="50000"/>
              <a:lumOff val="50000"/>
            </a:srgbClr>
          </a:solidFill>
          <a:ln w="25400" cap="flat" cmpd="sng" algn="ctr">
            <a:gradFill flip="none" rotWithShape="1">
              <a:gsLst>
                <a:gs pos="16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16200000" scaled="1"/>
              <a:tileRect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5" name="Isosceles Triangle 244"/>
          <p:cNvSpPr/>
          <p:nvPr/>
        </p:nvSpPr>
        <p:spPr>
          <a:xfrm rot="5400000">
            <a:off x="4268525" y="1898882"/>
            <a:ext cx="197545" cy="123036"/>
          </a:xfrm>
          <a:prstGeom prst="triangle">
            <a:avLst/>
          </a:prstGeom>
          <a:solidFill>
            <a:srgbClr val="00395C">
              <a:lumMod val="50000"/>
              <a:lumOff val="50000"/>
            </a:srgbClr>
          </a:solidFill>
          <a:ln w="25400" cap="flat" cmpd="sng" algn="ctr">
            <a:gradFill flip="none" rotWithShape="1">
              <a:gsLst>
                <a:gs pos="16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16200000" scaled="1"/>
              <a:tileRect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8" name="Isosceles Triangle 247"/>
          <p:cNvSpPr/>
          <p:nvPr/>
        </p:nvSpPr>
        <p:spPr>
          <a:xfrm rot="16200000">
            <a:off x="5623000" y="2416653"/>
            <a:ext cx="197545" cy="123036"/>
          </a:xfrm>
          <a:prstGeom prst="triangle">
            <a:avLst/>
          </a:prstGeom>
          <a:solidFill>
            <a:srgbClr val="00395C">
              <a:lumMod val="50000"/>
              <a:lumOff val="50000"/>
            </a:srgbClr>
          </a:solidFill>
          <a:ln w="25400" cap="flat" cmpd="sng" algn="ctr">
            <a:gradFill flip="none" rotWithShape="1">
              <a:gsLst>
                <a:gs pos="16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16200000" scaled="1"/>
              <a:tileRect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9" name="Isosceles Triangle 248"/>
          <p:cNvSpPr/>
          <p:nvPr/>
        </p:nvSpPr>
        <p:spPr>
          <a:xfrm rot="5400000">
            <a:off x="5623000" y="1897172"/>
            <a:ext cx="197545" cy="123036"/>
          </a:xfrm>
          <a:prstGeom prst="triangle">
            <a:avLst/>
          </a:prstGeom>
          <a:solidFill>
            <a:srgbClr val="00395C">
              <a:lumMod val="50000"/>
              <a:lumOff val="50000"/>
            </a:srgbClr>
          </a:solidFill>
          <a:ln w="25400" cap="flat" cmpd="sng" algn="ctr">
            <a:gradFill flip="none" rotWithShape="1">
              <a:gsLst>
                <a:gs pos="16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16200000" scaled="1"/>
              <a:tileRect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0" name="Isosceles Triangle 249"/>
          <p:cNvSpPr/>
          <p:nvPr/>
        </p:nvSpPr>
        <p:spPr>
          <a:xfrm rot="16200000">
            <a:off x="6956925" y="2414943"/>
            <a:ext cx="197545" cy="123036"/>
          </a:xfrm>
          <a:prstGeom prst="triangle">
            <a:avLst/>
          </a:prstGeom>
          <a:solidFill>
            <a:srgbClr val="00395C">
              <a:lumMod val="50000"/>
              <a:lumOff val="50000"/>
            </a:srgbClr>
          </a:solidFill>
          <a:ln w="25400" cap="flat" cmpd="sng" algn="ctr">
            <a:gradFill flip="none" rotWithShape="1">
              <a:gsLst>
                <a:gs pos="16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16200000" scaled="1"/>
              <a:tileRect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1" name="Isosceles Triangle 250"/>
          <p:cNvSpPr/>
          <p:nvPr/>
        </p:nvSpPr>
        <p:spPr>
          <a:xfrm rot="5400000">
            <a:off x="6956925" y="1895462"/>
            <a:ext cx="197545" cy="123036"/>
          </a:xfrm>
          <a:prstGeom prst="triangle">
            <a:avLst/>
          </a:prstGeom>
          <a:solidFill>
            <a:srgbClr val="00395C">
              <a:lumMod val="50000"/>
              <a:lumOff val="50000"/>
            </a:srgbClr>
          </a:solidFill>
          <a:ln w="25400" cap="flat" cmpd="sng" algn="ctr">
            <a:gradFill flip="none" rotWithShape="1">
              <a:gsLst>
                <a:gs pos="16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16200000" scaled="1"/>
              <a:tileRect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2" name="Isosceles Triangle 251"/>
          <p:cNvSpPr/>
          <p:nvPr/>
        </p:nvSpPr>
        <p:spPr>
          <a:xfrm rot="16200000">
            <a:off x="8290850" y="2413232"/>
            <a:ext cx="197545" cy="123036"/>
          </a:xfrm>
          <a:prstGeom prst="triangle">
            <a:avLst/>
          </a:prstGeom>
          <a:solidFill>
            <a:srgbClr val="00395C">
              <a:lumMod val="50000"/>
              <a:lumOff val="50000"/>
            </a:srgbClr>
          </a:solidFill>
          <a:ln w="25400" cap="flat" cmpd="sng" algn="ctr">
            <a:gradFill flip="none" rotWithShape="1">
              <a:gsLst>
                <a:gs pos="16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16200000" scaled="1"/>
              <a:tileRect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3" name="Isosceles Triangle 252"/>
          <p:cNvSpPr/>
          <p:nvPr/>
        </p:nvSpPr>
        <p:spPr>
          <a:xfrm rot="5400000">
            <a:off x="8290850" y="1893751"/>
            <a:ext cx="197545" cy="123036"/>
          </a:xfrm>
          <a:prstGeom prst="triangle">
            <a:avLst/>
          </a:prstGeom>
          <a:solidFill>
            <a:srgbClr val="00395C">
              <a:lumMod val="50000"/>
              <a:lumOff val="50000"/>
            </a:srgbClr>
          </a:solidFill>
          <a:ln w="25400" cap="flat" cmpd="sng" algn="ctr">
            <a:gradFill flip="none" rotWithShape="1">
              <a:gsLst>
                <a:gs pos="16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16200000" scaled="1"/>
              <a:tileRect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55" name="Straight Connector 254"/>
          <p:cNvCxnSpPr/>
          <p:nvPr/>
        </p:nvCxnSpPr>
        <p:spPr>
          <a:xfrm>
            <a:off x="3039396" y="3096548"/>
            <a:ext cx="10313" cy="2583349"/>
          </a:xfrm>
          <a:prstGeom prst="line">
            <a:avLst/>
          </a:prstGeom>
          <a:noFill/>
          <a:ln w="12700" cap="flat" cmpd="sng" algn="ctr">
            <a:solidFill>
              <a:srgbClr val="FF6600"/>
            </a:solidFill>
            <a:prstDash val="solid"/>
          </a:ln>
          <a:effectLst/>
        </p:spPr>
      </p:cxnSp>
      <p:cxnSp>
        <p:nvCxnSpPr>
          <p:cNvPr id="256" name="Straight Connector 255"/>
          <p:cNvCxnSpPr/>
          <p:nvPr/>
        </p:nvCxnSpPr>
        <p:spPr>
          <a:xfrm>
            <a:off x="4373319" y="3115386"/>
            <a:ext cx="10313" cy="2583349"/>
          </a:xfrm>
          <a:prstGeom prst="line">
            <a:avLst/>
          </a:prstGeom>
          <a:noFill/>
          <a:ln w="12700" cap="flat" cmpd="sng" algn="ctr">
            <a:solidFill>
              <a:srgbClr val="FF6600"/>
            </a:solidFill>
            <a:prstDash val="solid"/>
          </a:ln>
          <a:effectLst/>
        </p:spPr>
      </p:cxnSp>
      <p:cxnSp>
        <p:nvCxnSpPr>
          <p:cNvPr id="257" name="Straight Connector 256"/>
          <p:cNvCxnSpPr/>
          <p:nvPr/>
        </p:nvCxnSpPr>
        <p:spPr>
          <a:xfrm>
            <a:off x="5717517" y="3113676"/>
            <a:ext cx="10313" cy="2583349"/>
          </a:xfrm>
          <a:prstGeom prst="line">
            <a:avLst/>
          </a:prstGeom>
          <a:noFill/>
          <a:ln w="12700" cap="flat" cmpd="sng" algn="ctr">
            <a:solidFill>
              <a:srgbClr val="FF6600"/>
            </a:solidFill>
            <a:prstDash val="solid"/>
          </a:ln>
          <a:effectLst/>
        </p:spPr>
      </p:cxnSp>
      <p:cxnSp>
        <p:nvCxnSpPr>
          <p:cNvPr id="258" name="Straight Connector 257"/>
          <p:cNvCxnSpPr/>
          <p:nvPr/>
        </p:nvCxnSpPr>
        <p:spPr>
          <a:xfrm>
            <a:off x="7051443" y="3111966"/>
            <a:ext cx="10313" cy="2583349"/>
          </a:xfrm>
          <a:prstGeom prst="line">
            <a:avLst/>
          </a:prstGeom>
          <a:noFill/>
          <a:ln w="12700" cap="flat" cmpd="sng" algn="ctr">
            <a:solidFill>
              <a:srgbClr val="FF6600"/>
            </a:solidFill>
            <a:prstDash val="solid"/>
          </a:ln>
          <a:effectLst/>
        </p:spPr>
      </p:cxnSp>
      <p:cxnSp>
        <p:nvCxnSpPr>
          <p:cNvPr id="259" name="Straight Connector 258"/>
          <p:cNvCxnSpPr/>
          <p:nvPr/>
        </p:nvCxnSpPr>
        <p:spPr>
          <a:xfrm>
            <a:off x="8385370" y="3110256"/>
            <a:ext cx="10313" cy="2583349"/>
          </a:xfrm>
          <a:prstGeom prst="line">
            <a:avLst/>
          </a:prstGeom>
          <a:noFill/>
          <a:ln w="12700" cap="flat" cmpd="sng" algn="ctr">
            <a:solidFill>
              <a:srgbClr val="FF6600"/>
            </a:solidFill>
            <a:prstDash val="solid"/>
          </a:ln>
          <a:effectLst/>
        </p:spPr>
      </p:cxnSp>
      <p:sp>
        <p:nvSpPr>
          <p:cNvPr id="260" name="Rectangle 259"/>
          <p:cNvSpPr/>
          <p:nvPr/>
        </p:nvSpPr>
        <p:spPr bwMode="auto">
          <a:xfrm>
            <a:off x="377640" y="838101"/>
            <a:ext cx="9125312" cy="52621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400" i="1" dirty="0" smtClean="0">
                <a:solidFill>
                  <a:schemeClr val="bg1"/>
                </a:solidFill>
              </a:rPr>
              <a:t>Delivery approach is aligned to the Target Operating Model, enabling agility </a:t>
            </a:r>
            <a:r>
              <a:rPr lang="en-GB" sz="1400" i="1" dirty="0">
                <a:solidFill>
                  <a:schemeClr val="bg1"/>
                </a:solidFill>
              </a:rPr>
              <a:t>for </a:t>
            </a:r>
            <a:r>
              <a:rPr lang="en-GB" sz="1400" i="1" dirty="0" smtClean="0">
                <a:solidFill>
                  <a:schemeClr val="bg1"/>
                </a:solidFill>
              </a:rPr>
              <a:t>software releases</a:t>
            </a:r>
            <a:endParaRPr lang="en-GB" sz="14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6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oup 51"/>
          <p:cNvGrpSpPr/>
          <p:nvPr/>
        </p:nvGrpSpPr>
        <p:grpSpPr>
          <a:xfrm>
            <a:off x="589218" y="1479478"/>
            <a:ext cx="8575330" cy="5127607"/>
            <a:chOff x="311820" y="836712"/>
            <a:chExt cx="8724676" cy="5328592"/>
          </a:xfrm>
        </p:grpSpPr>
        <p:sp>
          <p:nvSpPr>
            <p:cNvPr id="53" name="Rounded Rectangle 52"/>
            <p:cNvSpPr/>
            <p:nvPr/>
          </p:nvSpPr>
          <p:spPr>
            <a:xfrm>
              <a:off x="311820" y="1556792"/>
              <a:ext cx="8686799" cy="1584176"/>
            </a:xfrm>
            <a:prstGeom prst="roundRect">
              <a:avLst/>
            </a:prstGeom>
            <a:solidFill>
              <a:srgbClr val="ADCDEC">
                <a:alpha val="41961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+mn-cs"/>
              </a:endParaRP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1619872" y="836712"/>
              <a:ext cx="1800000" cy="648072"/>
            </a:xfrm>
            <a:prstGeom prst="rect">
              <a:avLst/>
            </a:prstGeom>
            <a:solidFill>
              <a:srgbClr val="AACCEE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Calibri"/>
              </a:endParaRPr>
            </a:p>
          </p:txBody>
        </p:sp>
        <p:sp>
          <p:nvSpPr>
            <p:cNvPr id="55" name="Rectangle 88"/>
            <p:cNvSpPr>
              <a:spLocks noChangeArrowheads="1"/>
            </p:cNvSpPr>
            <p:nvPr/>
          </p:nvSpPr>
          <p:spPr bwMode="auto">
            <a:xfrm>
              <a:off x="2195736" y="1022539"/>
              <a:ext cx="706323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1F3B92"/>
                  </a:solidFill>
                  <a:effectLst/>
                  <a:uLnTx/>
                  <a:uFillTx/>
                  <a:latin typeface="Calibri"/>
                  <a:cs typeface="Calibri"/>
                </a:rPr>
                <a:t>LAUNCH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3492080" y="836712"/>
              <a:ext cx="1800000" cy="648072"/>
            </a:xfrm>
            <a:prstGeom prst="rect">
              <a:avLst/>
            </a:prstGeom>
            <a:solidFill>
              <a:srgbClr val="28B8BB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Calibri"/>
              </a:endParaRPr>
            </a:p>
          </p:txBody>
        </p:sp>
        <p:sp>
          <p:nvSpPr>
            <p:cNvPr id="57" name="Rectangle 88"/>
            <p:cNvSpPr>
              <a:spLocks noChangeArrowheads="1"/>
            </p:cNvSpPr>
            <p:nvPr/>
          </p:nvSpPr>
          <p:spPr bwMode="auto">
            <a:xfrm>
              <a:off x="3755509" y="1052736"/>
              <a:ext cx="124853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1F3B92"/>
                  </a:solidFill>
                  <a:effectLst/>
                  <a:uLnTx/>
                  <a:uFillTx/>
                  <a:latin typeface="Calibri"/>
                  <a:cs typeface="Calibri"/>
                </a:rPr>
                <a:t>ON-BOARDING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5364288" y="836712"/>
              <a:ext cx="1800000" cy="648072"/>
            </a:xfrm>
            <a:prstGeom prst="rect">
              <a:avLst/>
            </a:prstGeom>
            <a:solidFill>
              <a:srgbClr val="4061FF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Calibri"/>
              </a:endParaRPr>
            </a:p>
          </p:txBody>
        </p:sp>
        <p:sp>
          <p:nvSpPr>
            <p:cNvPr id="59" name="Rectangle 88"/>
            <p:cNvSpPr>
              <a:spLocks noChangeArrowheads="1"/>
            </p:cNvSpPr>
            <p:nvPr/>
          </p:nvSpPr>
          <p:spPr bwMode="auto">
            <a:xfrm>
              <a:off x="5627180" y="908720"/>
              <a:ext cx="1211069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1F3B92"/>
                  </a:solidFill>
                  <a:effectLst/>
                  <a:uLnTx/>
                  <a:uFillTx/>
                  <a:latin typeface="Calibri"/>
                  <a:cs typeface="Calibri"/>
                </a:rPr>
                <a:t>PILOT 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1F3B92"/>
                  </a:solidFill>
                  <a:effectLst/>
                  <a:uLnTx/>
                  <a:uFillTx/>
                  <a:latin typeface="Calibri"/>
                  <a:cs typeface="Calibri"/>
                </a:rPr>
                <a:t>APPLICATIONS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7236496" y="836712"/>
              <a:ext cx="1800000" cy="648072"/>
            </a:xfrm>
            <a:prstGeom prst="rect">
              <a:avLst/>
            </a:prstGeom>
            <a:solidFill>
              <a:srgbClr val="57E2FF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Calibri"/>
              </a:endParaRPr>
            </a:p>
          </p:txBody>
        </p:sp>
        <p:sp>
          <p:nvSpPr>
            <p:cNvPr id="61" name="Rectangle 88"/>
            <p:cNvSpPr>
              <a:spLocks noChangeArrowheads="1"/>
            </p:cNvSpPr>
            <p:nvPr/>
          </p:nvSpPr>
          <p:spPr bwMode="auto">
            <a:xfrm>
              <a:off x="7452320" y="908720"/>
              <a:ext cx="1385295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1F3B92"/>
                  </a:solidFill>
                  <a:effectLst/>
                  <a:uLnTx/>
                  <a:uFillTx/>
                  <a:latin typeface="Calibri"/>
                  <a:cs typeface="Calibri"/>
                </a:rPr>
                <a:t>STEADY STATE &amp; 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1F3B92"/>
                  </a:solidFill>
                  <a:effectLst/>
                  <a:uLnTx/>
                  <a:uFillTx/>
                  <a:latin typeface="Calibri"/>
                  <a:cs typeface="Calibri"/>
                </a:rPr>
                <a:t>GROWTH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/>
                <a:cs typeface="Calibri"/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1619672" y="1556792"/>
              <a:ext cx="1800000" cy="1584176"/>
            </a:xfrm>
            <a:prstGeom prst="rect">
              <a:avLst/>
            </a:prstGeom>
            <a:solidFill>
              <a:srgbClr val="AACCEE">
                <a:alpha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Calibri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1619672" y="4005064"/>
              <a:ext cx="1800000" cy="1296144"/>
            </a:xfrm>
            <a:prstGeom prst="rect">
              <a:avLst/>
            </a:prstGeom>
            <a:solidFill>
              <a:srgbClr val="AACCEE">
                <a:alpha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Calibri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378418" y="2152164"/>
              <a:ext cx="1087163" cy="4847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Expert Sans Regular"/>
                  <a:cs typeface="+mn-cs"/>
                </a:rPr>
                <a:t>SOLUTION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Expert Sans Regular"/>
                  <a:cs typeface="+mn-cs"/>
                </a:rPr>
                <a:t>DESIGN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Expert Sans Regular"/>
                  <a:cs typeface="+mn-cs"/>
                </a:rPr>
                <a:t>TEAM</a:t>
              </a:r>
            </a:p>
          </p:txBody>
        </p:sp>
        <p:sp>
          <p:nvSpPr>
            <p:cNvPr id="65" name="Rounded Rectangle 64"/>
            <p:cNvSpPr/>
            <p:nvPr/>
          </p:nvSpPr>
          <p:spPr>
            <a:xfrm>
              <a:off x="323528" y="4077072"/>
              <a:ext cx="8686799" cy="1080120"/>
            </a:xfrm>
            <a:prstGeom prst="roundRect">
              <a:avLst/>
            </a:prstGeom>
            <a:solidFill>
              <a:srgbClr val="ADCDEC">
                <a:alpha val="41961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+mn-cs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395536" y="4437112"/>
              <a:ext cx="907296" cy="3231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all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Expert Sans Regular"/>
                  <a:cs typeface="+mn-cs"/>
                </a:rPr>
                <a:t>Execution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Expert Sans Regular"/>
                  <a:cs typeface="+mn-cs"/>
                </a:rPr>
                <a:t>TEAM</a:t>
              </a: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1763688" y="1628800"/>
              <a:ext cx="1512168" cy="64791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4D595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Implementation Design</a:t>
              </a: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1763688" y="2348880"/>
              <a:ext cx="1512168" cy="64791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4D595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Survey &amp; Assessment creation</a:t>
              </a: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3491880" y="1556792"/>
              <a:ext cx="1800000" cy="1584176"/>
            </a:xfrm>
            <a:prstGeom prst="rect">
              <a:avLst/>
            </a:prstGeom>
            <a:solidFill>
              <a:srgbClr val="28B8BB">
                <a:alpha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Calibri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3491880" y="4005064"/>
              <a:ext cx="1800000" cy="1296144"/>
            </a:xfrm>
            <a:prstGeom prst="rect">
              <a:avLst/>
            </a:prstGeom>
            <a:solidFill>
              <a:srgbClr val="28B8BB">
                <a:alpha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Calibri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3635896" y="1628800"/>
              <a:ext cx="1512168" cy="64791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4D595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Analytics Implementation</a:t>
              </a: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3635896" y="2348880"/>
              <a:ext cx="1512168" cy="64791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4D595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Workflow assessment</a:t>
              </a: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5364088" y="1556792"/>
              <a:ext cx="1800000" cy="1584176"/>
            </a:xfrm>
            <a:prstGeom prst="rect">
              <a:avLst/>
            </a:prstGeom>
            <a:solidFill>
              <a:srgbClr val="4061FF">
                <a:alpha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Calibri"/>
              </a:endParaRP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5364088" y="4005064"/>
              <a:ext cx="1800000" cy="1296144"/>
            </a:xfrm>
            <a:prstGeom prst="rect">
              <a:avLst/>
            </a:prstGeom>
            <a:solidFill>
              <a:srgbClr val="4061FF">
                <a:alpha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Calibri"/>
              </a:endParaRPr>
            </a:p>
          </p:txBody>
        </p:sp>
        <p:sp>
          <p:nvSpPr>
            <p:cNvPr id="75" name="Rectangle 74"/>
            <p:cNvSpPr/>
            <p:nvPr/>
          </p:nvSpPr>
          <p:spPr>
            <a:xfrm>
              <a:off x="7236496" y="1556792"/>
              <a:ext cx="1800000" cy="1584176"/>
            </a:xfrm>
            <a:prstGeom prst="rect">
              <a:avLst/>
            </a:prstGeom>
            <a:solidFill>
              <a:srgbClr val="57E2FF">
                <a:alpha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Calibri"/>
              </a:endParaRPr>
            </a:p>
          </p:txBody>
        </p:sp>
        <p:sp>
          <p:nvSpPr>
            <p:cNvPr id="76" name="Rectangle 75"/>
            <p:cNvSpPr/>
            <p:nvPr/>
          </p:nvSpPr>
          <p:spPr>
            <a:xfrm>
              <a:off x="7236496" y="4005064"/>
              <a:ext cx="1800000" cy="1296144"/>
            </a:xfrm>
            <a:prstGeom prst="rect">
              <a:avLst/>
            </a:prstGeom>
            <a:solidFill>
              <a:srgbClr val="57E2FF">
                <a:alpha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Calibri"/>
              </a:endParaRP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5508104" y="2060848"/>
              <a:ext cx="1512168" cy="64791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4D595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Test Driven Infrastructure</a:t>
              </a: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7380312" y="2060848"/>
              <a:ext cx="1512168" cy="64791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4D595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Training &amp; Mentoring </a:t>
              </a: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1763688" y="4077072"/>
              <a:ext cx="1512168" cy="216024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4D595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DevOps Patterns</a:t>
              </a: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1763688" y="4389107"/>
              <a:ext cx="1512168" cy="216024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4D595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Service </a:t>
              </a:r>
              <a:r>
                <a:rPr kumimoji="0" 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Virt</a:t>
              </a: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. Patterns</a:t>
              </a:r>
            </a:p>
          </p:txBody>
        </p:sp>
        <p:sp>
          <p:nvSpPr>
            <p:cNvPr id="81" name="Rectangle 80"/>
            <p:cNvSpPr/>
            <p:nvPr/>
          </p:nvSpPr>
          <p:spPr>
            <a:xfrm>
              <a:off x="1763688" y="4701142"/>
              <a:ext cx="1512168" cy="216024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4D595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Test Automation Patterns</a:t>
              </a: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1763688" y="5013176"/>
              <a:ext cx="1512168" cy="216024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4D595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Test </a:t>
              </a:r>
              <a:r>
                <a:rPr kumimoji="0" 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Env</a:t>
              </a: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 </a:t>
              </a:r>
              <a:r>
                <a:rPr kumimoji="0" lang="en-US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Mgmt</a:t>
              </a: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 Patterns</a:t>
              </a:r>
            </a:p>
          </p:txBody>
        </p:sp>
        <p:sp>
          <p:nvSpPr>
            <p:cNvPr id="83" name="Rectangle 82"/>
            <p:cNvSpPr/>
            <p:nvPr/>
          </p:nvSpPr>
          <p:spPr>
            <a:xfrm>
              <a:off x="3635896" y="4389107"/>
              <a:ext cx="1512168" cy="216024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4D595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On Boarding activities</a:t>
              </a:r>
            </a:p>
          </p:txBody>
        </p:sp>
        <p:sp>
          <p:nvSpPr>
            <p:cNvPr id="84" name="Rectangle 83"/>
            <p:cNvSpPr/>
            <p:nvPr/>
          </p:nvSpPr>
          <p:spPr>
            <a:xfrm>
              <a:off x="3635896" y="4701142"/>
              <a:ext cx="1512168" cy="216024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4D595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Jira backlog of items</a:t>
              </a:r>
            </a:p>
          </p:txBody>
        </p:sp>
        <p:sp>
          <p:nvSpPr>
            <p:cNvPr id="85" name="Rectangle 84"/>
            <p:cNvSpPr/>
            <p:nvPr/>
          </p:nvSpPr>
          <p:spPr>
            <a:xfrm>
              <a:off x="7380312" y="4293096"/>
              <a:ext cx="1512168" cy="64791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4D595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Standardize on DevOps Platform</a:t>
              </a:r>
            </a:p>
          </p:txBody>
        </p:sp>
        <p:sp>
          <p:nvSpPr>
            <p:cNvPr id="86" name="Rounded Rectangle 85"/>
            <p:cNvSpPr/>
            <p:nvPr/>
          </p:nvSpPr>
          <p:spPr>
            <a:xfrm>
              <a:off x="323528" y="5373216"/>
              <a:ext cx="8686799" cy="792088"/>
            </a:xfrm>
            <a:prstGeom prst="roundRect">
              <a:avLst/>
            </a:prstGeom>
            <a:solidFill>
              <a:srgbClr val="ADCDEC">
                <a:alpha val="41961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+mn-cs"/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395536" y="5589240"/>
              <a:ext cx="1008112" cy="3231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all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Expert Sans Regular"/>
                  <a:cs typeface="+mn-cs"/>
                </a:rPr>
                <a:t>Onboarding Team</a:t>
              </a:r>
              <a:endPara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Expert Sans Regular"/>
                <a:cs typeface="+mn-cs"/>
              </a:endParaRPr>
            </a:p>
          </p:txBody>
        </p:sp>
        <p:sp>
          <p:nvSpPr>
            <p:cNvPr id="88" name="Rectangle 87"/>
            <p:cNvSpPr/>
            <p:nvPr/>
          </p:nvSpPr>
          <p:spPr>
            <a:xfrm>
              <a:off x="1763688" y="5445384"/>
              <a:ext cx="1512168" cy="64791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4D595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Journey Assessment</a:t>
              </a:r>
            </a:p>
          </p:txBody>
        </p:sp>
        <p:sp>
          <p:nvSpPr>
            <p:cNvPr id="89" name="Rectangle 88"/>
            <p:cNvSpPr/>
            <p:nvPr/>
          </p:nvSpPr>
          <p:spPr>
            <a:xfrm>
              <a:off x="3635896" y="5445224"/>
              <a:ext cx="1512168" cy="64791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4D595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Engagement &amp; gap assessment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(infra, tools &amp; processes)</a:t>
              </a: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5508104" y="5445224"/>
              <a:ext cx="1512168" cy="64791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4D595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Trouble Shooting &amp; Roadmap briefings</a:t>
              </a: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7380312" y="5445224"/>
              <a:ext cx="1512168" cy="64791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4D595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Success patterns &amp; Community Building</a:t>
              </a: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5508104" y="4293096"/>
              <a:ext cx="1512168" cy="64791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4D595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Prioritized list of items</a:t>
              </a:r>
            </a:p>
          </p:txBody>
        </p:sp>
        <p:sp>
          <p:nvSpPr>
            <p:cNvPr id="93" name="Rounded Rectangle 92"/>
            <p:cNvSpPr/>
            <p:nvPr/>
          </p:nvSpPr>
          <p:spPr>
            <a:xfrm>
              <a:off x="323528" y="3212976"/>
              <a:ext cx="8686799" cy="792088"/>
            </a:xfrm>
            <a:prstGeom prst="roundRect">
              <a:avLst/>
            </a:prstGeom>
            <a:solidFill>
              <a:srgbClr val="ADCDEC">
                <a:alpha val="41961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+mn-cs"/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385352" y="3377630"/>
              <a:ext cx="1080120" cy="4847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all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Expert Sans Regular"/>
                  <a:cs typeface="+mn-cs"/>
                </a:rPr>
                <a:t>Capacity &amp; Team Ramp up plan</a:t>
              </a:r>
              <a:endPara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Expert Sans Regular"/>
                <a:cs typeface="+mn-cs"/>
              </a:endParaRPr>
            </a:p>
          </p:txBody>
        </p:sp>
        <p:sp>
          <p:nvSpPr>
            <p:cNvPr id="95" name="Right Triangle 94"/>
            <p:cNvSpPr/>
            <p:nvPr/>
          </p:nvSpPr>
          <p:spPr bwMode="auto">
            <a:xfrm>
              <a:off x="6588224" y="3284984"/>
              <a:ext cx="2160240" cy="504056"/>
            </a:xfrm>
            <a:prstGeom prst="rtTriangle">
              <a:avLst/>
            </a:prstGeom>
            <a:solidFill>
              <a:srgbClr val="000000">
                <a:lumMod val="50000"/>
                <a:lumOff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 smtClean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Arial" pitchFamily="34" charset="0"/>
                <a:cs typeface="+mn-cs"/>
              </a:endParaRPr>
            </a:p>
          </p:txBody>
        </p:sp>
        <p:sp>
          <p:nvSpPr>
            <p:cNvPr id="96" name="Right Triangle 95"/>
            <p:cNvSpPr/>
            <p:nvPr/>
          </p:nvSpPr>
          <p:spPr bwMode="auto">
            <a:xfrm>
              <a:off x="1763688" y="3284984"/>
              <a:ext cx="2952328" cy="504000"/>
            </a:xfrm>
            <a:prstGeom prst="rtTriangle">
              <a:avLst/>
            </a:prstGeom>
            <a:solidFill>
              <a:srgbClr val="000000">
                <a:lumMod val="50000"/>
                <a:lumOff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10800000" rev="0"/>
              </a:camera>
              <a:lightRig rig="threePt" dir="t"/>
            </a:scene3d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Arial" pitchFamily="34" charset="0"/>
                <a:cs typeface="+mn-cs"/>
              </a:endParaRP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4716016" y="3284984"/>
              <a:ext cx="1872208" cy="504056"/>
            </a:xfrm>
            <a:prstGeom prst="rect">
              <a:avLst/>
            </a:prstGeom>
            <a:solidFill>
              <a:srgbClr val="000000">
                <a:lumMod val="50000"/>
                <a:lumOff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 smtClean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Arial" pitchFamily="34" charset="0"/>
                <a:cs typeface="+mn-cs"/>
              </a:endParaRPr>
            </a:p>
          </p:txBody>
        </p:sp>
        <p:sp>
          <p:nvSpPr>
            <p:cNvPr id="98" name="Rectangle 97"/>
            <p:cNvSpPr/>
            <p:nvPr/>
          </p:nvSpPr>
          <p:spPr>
            <a:xfrm>
              <a:off x="3635896" y="3501008"/>
              <a:ext cx="1512168" cy="216024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4D595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SI Capacity Ramp Up</a:t>
              </a:r>
            </a:p>
          </p:txBody>
        </p:sp>
        <p:sp>
          <p:nvSpPr>
            <p:cNvPr id="99" name="Right Triangle 98"/>
            <p:cNvSpPr/>
            <p:nvPr/>
          </p:nvSpPr>
          <p:spPr bwMode="auto">
            <a:xfrm>
              <a:off x="5364088" y="3284984"/>
              <a:ext cx="3600400" cy="504056"/>
            </a:xfrm>
            <a:prstGeom prst="rtTriangle">
              <a:avLst/>
            </a:prstGeom>
            <a:solidFill>
              <a:srgbClr val="00AEE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10800000" rev="0"/>
              </a:camera>
              <a:lightRig rig="threePt" dir="t"/>
            </a:scene3d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 smtClean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Arial" pitchFamily="34" charset="0"/>
                <a:cs typeface="+mn-cs"/>
              </a:endParaRP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7380312" y="3501008"/>
              <a:ext cx="1584176" cy="216024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4D595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Barclays Capacity Ramp Up</a:t>
              </a:r>
            </a:p>
          </p:txBody>
        </p:sp>
      </p:grpSp>
      <p:sp>
        <p:nvSpPr>
          <p:cNvPr id="101" name="Rectangle 2"/>
          <p:cNvSpPr>
            <a:spLocks noChangeArrowheads="1"/>
          </p:cNvSpPr>
          <p:nvPr/>
        </p:nvSpPr>
        <p:spPr bwMode="auto">
          <a:xfrm>
            <a:off x="2650156" y="188915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GB" sz="2400" b="0" dirty="0" smtClean="0">
                <a:solidFill>
                  <a:srgbClr val="00A4E8"/>
                </a:solidFill>
              </a:rPr>
              <a:t>Stages &amp; Activities</a:t>
            </a:r>
            <a:endParaRPr lang="en-US" sz="2400" b="0" dirty="0">
              <a:solidFill>
                <a:srgbClr val="00A4E8"/>
              </a:solidFill>
            </a:endParaRPr>
          </a:p>
        </p:txBody>
      </p:sp>
      <p:sp>
        <p:nvSpPr>
          <p:cNvPr id="102" name="Rectangle 101"/>
          <p:cNvSpPr/>
          <p:nvPr/>
        </p:nvSpPr>
        <p:spPr bwMode="auto">
          <a:xfrm>
            <a:off x="376583" y="829125"/>
            <a:ext cx="9125312" cy="52621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400" i="1" dirty="0" smtClean="0">
                <a:solidFill>
                  <a:srgbClr val="FFFFFF"/>
                </a:solidFill>
              </a:rPr>
              <a:t>Solution delivery will involve design, execution and application teams coming together to execute activities in stages</a:t>
            </a:r>
            <a:endParaRPr lang="en-GB" sz="1400" i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5171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52"/>
          <p:cNvPicPr>
            <a:picLocks noChangeAspect="1"/>
          </p:cNvPicPr>
          <p:nvPr/>
        </p:nvPicPr>
        <p:blipFill rotWithShape="1">
          <a:blip r:embed="rId2"/>
          <a:srcRect l="13756" t="6907" r="15962" b="6480"/>
          <a:stretch/>
        </p:blipFill>
        <p:spPr>
          <a:xfrm>
            <a:off x="1070907" y="5266389"/>
            <a:ext cx="4481848" cy="1584102"/>
          </a:xfrm>
          <a:prstGeom prst="rect">
            <a:avLst/>
          </a:prstGeom>
        </p:spPr>
      </p:pic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2650156" y="188915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GB" sz="2400" b="0" dirty="0" smtClean="0">
                <a:solidFill>
                  <a:srgbClr val="00A4E8"/>
                </a:solidFill>
              </a:rPr>
              <a:t>Application On-boarding - Phased Delivery</a:t>
            </a:r>
            <a:endParaRPr lang="en-US" sz="2400" b="0" dirty="0">
              <a:solidFill>
                <a:srgbClr val="00A4E8"/>
              </a:solidFill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376583" y="818851"/>
            <a:ext cx="9125312" cy="52621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400" i="1" dirty="0" smtClean="0">
                <a:solidFill>
                  <a:srgbClr val="FFFFFF"/>
                </a:solidFill>
              </a:rPr>
              <a:t>Phased approach, landing groups of apps onto the DevOps platform, while the platform matures towards the target state over time.</a:t>
            </a:r>
            <a:endParaRPr lang="en-GB" sz="1400" i="1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7393641" y="1402314"/>
            <a:ext cx="2282853" cy="3787321"/>
          </a:xfrm>
          <a:prstGeom prst="rect">
            <a:avLst/>
          </a:prstGeom>
          <a:solidFill>
            <a:schemeClr val="tx2">
              <a:lumMod val="60000"/>
              <a:lumOff val="40000"/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77800" indent="-1778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400" b="0" i="1" dirty="0">
                <a:solidFill>
                  <a:srgbClr val="E2E3E4">
                    <a:lumMod val="50000"/>
                  </a:srgbClr>
                </a:solidFill>
                <a:latin typeface="Calibri" panose="020F0502020204030204" pitchFamily="34" charset="0"/>
              </a:rPr>
              <a:t>Small set of apps for </a:t>
            </a:r>
            <a:r>
              <a:rPr lang="en-GB" sz="1400" b="0" i="1" dirty="0" smtClean="0">
                <a:solidFill>
                  <a:srgbClr val="E2E3E4">
                    <a:lumMod val="50000"/>
                  </a:srgbClr>
                </a:solidFill>
                <a:latin typeface="Calibri" panose="020F0502020204030204" pitchFamily="34" charset="0"/>
              </a:rPr>
              <a:t>pilot</a:t>
            </a:r>
            <a:endParaRPr lang="en-GB" sz="1400" b="0" i="1" dirty="0">
              <a:solidFill>
                <a:srgbClr val="E2E3E4">
                  <a:lumMod val="50000"/>
                </a:srgbClr>
              </a:solidFill>
              <a:latin typeface="Calibri" panose="020F0502020204030204" pitchFamily="34" charset="0"/>
            </a:endParaRPr>
          </a:p>
          <a:p>
            <a:pPr marL="177800" indent="-1778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400" b="0" i="1" dirty="0">
                <a:solidFill>
                  <a:srgbClr val="E2E3E4">
                    <a:lumMod val="50000"/>
                  </a:srgbClr>
                </a:solidFill>
                <a:latin typeface="Calibri" panose="020F0502020204030204" pitchFamily="34" charset="0"/>
              </a:rPr>
              <a:t>Minimum Viable Product available in the form of CI + Release Automation + Automated consistent Build practices.</a:t>
            </a:r>
          </a:p>
          <a:p>
            <a:pPr marL="177800" indent="-1778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400" b="0" i="1" dirty="0">
                <a:solidFill>
                  <a:srgbClr val="E2E3E4">
                    <a:lumMod val="50000"/>
                  </a:srgbClr>
                </a:solidFill>
                <a:latin typeface="Calibri" panose="020F0502020204030204" pitchFamily="34" charset="0"/>
              </a:rPr>
              <a:t>As time progresses, applications groups move to the next level of maturity on the platform, as platform matures.</a:t>
            </a:r>
          </a:p>
          <a:p>
            <a:pPr marL="177800" indent="-1778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400" b="0" i="1" dirty="0">
                <a:solidFill>
                  <a:srgbClr val="E2E3E4">
                    <a:lumMod val="50000"/>
                  </a:srgbClr>
                </a:solidFill>
                <a:latin typeface="Calibri" panose="020F0502020204030204" pitchFamily="34" charset="0"/>
              </a:rPr>
              <a:t>Target state achieved over a period of time across a number of phases</a:t>
            </a:r>
            <a:r>
              <a:rPr lang="en-GB" sz="1400" b="0" i="1" dirty="0" smtClean="0">
                <a:solidFill>
                  <a:srgbClr val="E2E3E4">
                    <a:lumMod val="50000"/>
                  </a:srgbClr>
                </a:solidFill>
                <a:latin typeface="Calibri" panose="020F0502020204030204" pitchFamily="34" charset="0"/>
              </a:rPr>
              <a:t>.</a:t>
            </a:r>
            <a:endParaRPr lang="en-GB" sz="1400" b="0" i="1" dirty="0">
              <a:solidFill>
                <a:srgbClr val="E2E3E4">
                  <a:lumMod val="50000"/>
                </a:srgbClr>
              </a:solidFill>
              <a:latin typeface="Calibri" panose="020F0502020204030204" pitchFamily="34" charset="0"/>
            </a:endParaRPr>
          </a:p>
        </p:txBody>
      </p:sp>
      <p:grpSp>
        <p:nvGrpSpPr>
          <p:cNvPr id="70" name="Group 69"/>
          <p:cNvGrpSpPr/>
          <p:nvPr/>
        </p:nvGrpSpPr>
        <p:grpSpPr>
          <a:xfrm>
            <a:off x="418759" y="1331779"/>
            <a:ext cx="6871324" cy="4234677"/>
            <a:chOff x="467939" y="830618"/>
            <a:chExt cx="7245939" cy="5116518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1027099" y="846666"/>
              <a:ext cx="0" cy="5100470"/>
            </a:xfrm>
            <a:prstGeom prst="line">
              <a:avLst/>
            </a:prstGeom>
            <a:noFill/>
            <a:ln w="9525" cap="flat" cmpd="sng" algn="ctr">
              <a:solidFill>
                <a:srgbClr val="BFBFBF"/>
              </a:solidFill>
              <a:prstDash val="dot"/>
            </a:ln>
            <a:effectLst/>
          </p:spPr>
        </p:cxnSp>
        <p:cxnSp>
          <p:nvCxnSpPr>
            <p:cNvPr id="9" name="Straight Connector 8"/>
            <p:cNvCxnSpPr/>
            <p:nvPr/>
          </p:nvCxnSpPr>
          <p:spPr>
            <a:xfrm>
              <a:off x="1329272" y="846666"/>
              <a:ext cx="0" cy="5100470"/>
            </a:xfrm>
            <a:prstGeom prst="line">
              <a:avLst/>
            </a:prstGeom>
            <a:noFill/>
            <a:ln w="9525" cap="flat" cmpd="sng" algn="ctr">
              <a:solidFill>
                <a:srgbClr val="BFBFBF"/>
              </a:solidFill>
              <a:prstDash val="dot"/>
            </a:ln>
            <a:effectLst/>
          </p:spPr>
        </p:cxnSp>
        <p:cxnSp>
          <p:nvCxnSpPr>
            <p:cNvPr id="11" name="Straight Connector 10"/>
            <p:cNvCxnSpPr/>
            <p:nvPr/>
          </p:nvCxnSpPr>
          <p:spPr>
            <a:xfrm>
              <a:off x="1631444" y="846666"/>
              <a:ext cx="0" cy="5100470"/>
            </a:xfrm>
            <a:prstGeom prst="line">
              <a:avLst/>
            </a:prstGeom>
            <a:noFill/>
            <a:ln w="9525" cap="flat" cmpd="sng" algn="ctr">
              <a:solidFill>
                <a:srgbClr val="BFBFBF"/>
              </a:solidFill>
              <a:prstDash val="dot"/>
            </a:ln>
            <a:effectLst/>
          </p:spPr>
        </p:cxnSp>
        <p:cxnSp>
          <p:nvCxnSpPr>
            <p:cNvPr id="12" name="Straight Connector 11"/>
            <p:cNvCxnSpPr/>
            <p:nvPr/>
          </p:nvCxnSpPr>
          <p:spPr>
            <a:xfrm>
              <a:off x="1933617" y="846666"/>
              <a:ext cx="0" cy="5100470"/>
            </a:xfrm>
            <a:prstGeom prst="line">
              <a:avLst/>
            </a:prstGeom>
            <a:noFill/>
            <a:ln w="9525" cap="flat" cmpd="sng" algn="ctr">
              <a:solidFill>
                <a:srgbClr val="BFBFBF"/>
              </a:solidFill>
              <a:prstDash val="dot"/>
            </a:ln>
            <a:effectLst/>
          </p:spPr>
        </p:cxnSp>
        <p:cxnSp>
          <p:nvCxnSpPr>
            <p:cNvPr id="13" name="Straight Connector 12"/>
            <p:cNvCxnSpPr/>
            <p:nvPr/>
          </p:nvCxnSpPr>
          <p:spPr>
            <a:xfrm>
              <a:off x="2235789" y="846666"/>
              <a:ext cx="0" cy="5100470"/>
            </a:xfrm>
            <a:prstGeom prst="line">
              <a:avLst/>
            </a:prstGeom>
            <a:noFill/>
            <a:ln w="9525" cap="flat" cmpd="sng" algn="ctr">
              <a:solidFill>
                <a:srgbClr val="BFBFBF"/>
              </a:solidFill>
              <a:prstDash val="dot"/>
            </a:ln>
            <a:effectLst/>
          </p:spPr>
        </p:cxnSp>
        <p:cxnSp>
          <p:nvCxnSpPr>
            <p:cNvPr id="14" name="Straight Connector 13"/>
            <p:cNvCxnSpPr/>
            <p:nvPr/>
          </p:nvCxnSpPr>
          <p:spPr>
            <a:xfrm>
              <a:off x="2537962" y="846666"/>
              <a:ext cx="0" cy="5100470"/>
            </a:xfrm>
            <a:prstGeom prst="line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2840134" y="846666"/>
              <a:ext cx="0" cy="5100470"/>
            </a:xfrm>
            <a:prstGeom prst="line">
              <a:avLst/>
            </a:prstGeom>
            <a:noFill/>
            <a:ln w="9525" cap="flat" cmpd="sng" algn="ctr">
              <a:solidFill>
                <a:srgbClr val="BFBFBF"/>
              </a:solidFill>
              <a:prstDash val="dot"/>
            </a:ln>
            <a:effectLst/>
          </p:spPr>
        </p:cxnSp>
        <p:cxnSp>
          <p:nvCxnSpPr>
            <p:cNvPr id="16" name="Straight Connector 15"/>
            <p:cNvCxnSpPr/>
            <p:nvPr/>
          </p:nvCxnSpPr>
          <p:spPr>
            <a:xfrm>
              <a:off x="3142307" y="846666"/>
              <a:ext cx="0" cy="5100470"/>
            </a:xfrm>
            <a:prstGeom prst="line">
              <a:avLst/>
            </a:prstGeom>
            <a:noFill/>
            <a:ln w="9525" cap="flat" cmpd="sng" algn="ctr">
              <a:solidFill>
                <a:srgbClr val="BFBFBF"/>
              </a:solidFill>
              <a:prstDash val="dot"/>
            </a:ln>
            <a:effectLst/>
          </p:spPr>
        </p:cxnSp>
        <p:cxnSp>
          <p:nvCxnSpPr>
            <p:cNvPr id="17" name="Straight Connector 16"/>
            <p:cNvCxnSpPr/>
            <p:nvPr/>
          </p:nvCxnSpPr>
          <p:spPr>
            <a:xfrm>
              <a:off x="3444479" y="846666"/>
              <a:ext cx="0" cy="5100470"/>
            </a:xfrm>
            <a:prstGeom prst="line">
              <a:avLst/>
            </a:prstGeom>
            <a:noFill/>
            <a:ln w="9525" cap="flat" cmpd="sng" algn="ctr">
              <a:solidFill>
                <a:srgbClr val="BFBFBF"/>
              </a:solidFill>
              <a:prstDash val="dot"/>
            </a:ln>
            <a:effectLst/>
          </p:spPr>
        </p:cxnSp>
        <p:cxnSp>
          <p:nvCxnSpPr>
            <p:cNvPr id="18" name="Straight Connector 17"/>
            <p:cNvCxnSpPr/>
            <p:nvPr/>
          </p:nvCxnSpPr>
          <p:spPr>
            <a:xfrm>
              <a:off x="3746652" y="846666"/>
              <a:ext cx="0" cy="5100470"/>
            </a:xfrm>
            <a:prstGeom prst="line">
              <a:avLst/>
            </a:prstGeom>
            <a:noFill/>
            <a:ln w="9525" cap="flat" cmpd="sng" algn="ctr">
              <a:solidFill>
                <a:srgbClr val="BFBFBF"/>
              </a:solidFill>
              <a:prstDash val="dot"/>
            </a:ln>
            <a:effectLst/>
          </p:spPr>
        </p:cxnSp>
        <p:cxnSp>
          <p:nvCxnSpPr>
            <p:cNvPr id="19" name="Straight Connector 18"/>
            <p:cNvCxnSpPr/>
            <p:nvPr/>
          </p:nvCxnSpPr>
          <p:spPr>
            <a:xfrm>
              <a:off x="4350997" y="846666"/>
              <a:ext cx="0" cy="5100470"/>
            </a:xfrm>
            <a:prstGeom prst="line">
              <a:avLst/>
            </a:prstGeom>
            <a:noFill/>
            <a:ln w="9525" cap="flat" cmpd="sng" algn="ctr">
              <a:solidFill>
                <a:srgbClr val="BFBFBF"/>
              </a:solidFill>
              <a:prstDash val="dot"/>
            </a:ln>
            <a:effectLst/>
          </p:spPr>
        </p:cxnSp>
        <p:cxnSp>
          <p:nvCxnSpPr>
            <p:cNvPr id="20" name="Straight Connector 19"/>
            <p:cNvCxnSpPr/>
            <p:nvPr/>
          </p:nvCxnSpPr>
          <p:spPr>
            <a:xfrm>
              <a:off x="4653169" y="846666"/>
              <a:ext cx="0" cy="5100470"/>
            </a:xfrm>
            <a:prstGeom prst="line">
              <a:avLst/>
            </a:prstGeom>
            <a:noFill/>
            <a:ln w="9525" cap="flat" cmpd="sng" algn="ctr">
              <a:solidFill>
                <a:srgbClr val="BFBFBF"/>
              </a:solidFill>
              <a:prstDash val="dot"/>
            </a:ln>
            <a:effectLst/>
          </p:spPr>
        </p:cxnSp>
        <p:cxnSp>
          <p:nvCxnSpPr>
            <p:cNvPr id="21" name="Straight Connector 20"/>
            <p:cNvCxnSpPr/>
            <p:nvPr/>
          </p:nvCxnSpPr>
          <p:spPr>
            <a:xfrm>
              <a:off x="4955342" y="846666"/>
              <a:ext cx="0" cy="5100470"/>
            </a:xfrm>
            <a:prstGeom prst="line">
              <a:avLst/>
            </a:prstGeom>
            <a:noFill/>
            <a:ln w="9525" cap="flat" cmpd="sng" algn="ctr">
              <a:solidFill>
                <a:srgbClr val="BFBFBF"/>
              </a:solidFill>
              <a:prstDash val="dot"/>
            </a:ln>
            <a:effectLst/>
          </p:spPr>
        </p:cxnSp>
        <p:cxnSp>
          <p:nvCxnSpPr>
            <p:cNvPr id="22" name="Straight Connector 21"/>
            <p:cNvCxnSpPr/>
            <p:nvPr/>
          </p:nvCxnSpPr>
          <p:spPr>
            <a:xfrm>
              <a:off x="5257514" y="846666"/>
              <a:ext cx="0" cy="5100470"/>
            </a:xfrm>
            <a:prstGeom prst="line">
              <a:avLst/>
            </a:prstGeom>
            <a:noFill/>
            <a:ln w="9525" cap="flat" cmpd="sng" algn="ctr">
              <a:solidFill>
                <a:srgbClr val="BFBFBF"/>
              </a:solidFill>
              <a:prstDash val="dot"/>
            </a:ln>
            <a:effectLst/>
          </p:spPr>
        </p:cxnSp>
        <p:cxnSp>
          <p:nvCxnSpPr>
            <p:cNvPr id="23" name="Straight Connector 22"/>
            <p:cNvCxnSpPr/>
            <p:nvPr/>
          </p:nvCxnSpPr>
          <p:spPr>
            <a:xfrm>
              <a:off x="4039047" y="846666"/>
              <a:ext cx="0" cy="5100470"/>
            </a:xfrm>
            <a:prstGeom prst="line">
              <a:avLst/>
            </a:prstGeom>
            <a:noFill/>
            <a:ln w="9525" cap="flat" cmpd="sng" algn="ctr">
              <a:solidFill>
                <a:srgbClr val="BFBFBF"/>
              </a:solidFill>
              <a:prstDash val="dot"/>
            </a:ln>
            <a:effectLst/>
          </p:spPr>
        </p:cxnSp>
        <p:cxnSp>
          <p:nvCxnSpPr>
            <p:cNvPr id="25" name="Straight Connector 24"/>
            <p:cNvCxnSpPr/>
            <p:nvPr/>
          </p:nvCxnSpPr>
          <p:spPr>
            <a:xfrm>
              <a:off x="5871166" y="846666"/>
              <a:ext cx="0" cy="5100470"/>
            </a:xfrm>
            <a:prstGeom prst="line">
              <a:avLst/>
            </a:prstGeom>
            <a:noFill/>
            <a:ln w="9525" cap="flat" cmpd="sng" algn="ctr">
              <a:solidFill>
                <a:srgbClr val="BFBFBF"/>
              </a:solidFill>
              <a:prstDash val="dot"/>
            </a:ln>
            <a:effectLst/>
          </p:spPr>
        </p:cxnSp>
        <p:cxnSp>
          <p:nvCxnSpPr>
            <p:cNvPr id="26" name="Straight Connector 25"/>
            <p:cNvCxnSpPr/>
            <p:nvPr/>
          </p:nvCxnSpPr>
          <p:spPr>
            <a:xfrm>
              <a:off x="6173338" y="846666"/>
              <a:ext cx="0" cy="5100470"/>
            </a:xfrm>
            <a:prstGeom prst="line">
              <a:avLst/>
            </a:prstGeom>
            <a:noFill/>
            <a:ln w="9525" cap="flat" cmpd="sng" algn="ctr">
              <a:solidFill>
                <a:srgbClr val="BFBFBF"/>
              </a:solidFill>
              <a:prstDash val="dot"/>
            </a:ln>
            <a:effectLst/>
          </p:spPr>
        </p:cxnSp>
        <p:cxnSp>
          <p:nvCxnSpPr>
            <p:cNvPr id="27" name="Straight Connector 26"/>
            <p:cNvCxnSpPr/>
            <p:nvPr/>
          </p:nvCxnSpPr>
          <p:spPr>
            <a:xfrm>
              <a:off x="6777683" y="846666"/>
              <a:ext cx="0" cy="5100470"/>
            </a:xfrm>
            <a:prstGeom prst="line">
              <a:avLst/>
            </a:prstGeom>
            <a:noFill/>
            <a:ln w="9525" cap="flat" cmpd="sng" algn="ctr">
              <a:solidFill>
                <a:srgbClr val="BFBFBF"/>
              </a:solidFill>
              <a:prstDash val="dot"/>
            </a:ln>
            <a:effectLst/>
          </p:spPr>
        </p:cxnSp>
        <p:cxnSp>
          <p:nvCxnSpPr>
            <p:cNvPr id="28" name="Straight Connector 27"/>
            <p:cNvCxnSpPr/>
            <p:nvPr/>
          </p:nvCxnSpPr>
          <p:spPr>
            <a:xfrm>
              <a:off x="5559216" y="846666"/>
              <a:ext cx="0" cy="5100470"/>
            </a:xfrm>
            <a:prstGeom prst="line">
              <a:avLst/>
            </a:prstGeom>
            <a:noFill/>
            <a:ln w="9525" cap="flat" cmpd="sng" algn="ctr">
              <a:solidFill>
                <a:srgbClr val="BFBFBF"/>
              </a:solidFill>
              <a:prstDash val="dot"/>
            </a:ln>
            <a:effectLst/>
          </p:spPr>
        </p:cxnSp>
        <p:cxnSp>
          <p:nvCxnSpPr>
            <p:cNvPr id="55" name="Straight Connector 54"/>
            <p:cNvCxnSpPr/>
            <p:nvPr/>
          </p:nvCxnSpPr>
          <p:spPr>
            <a:xfrm>
              <a:off x="2523308" y="830618"/>
              <a:ext cx="0" cy="5100470"/>
            </a:xfrm>
            <a:prstGeom prst="line">
              <a:avLst/>
            </a:prstGeom>
            <a:noFill/>
            <a:ln w="9525" cap="flat" cmpd="sng" algn="ctr">
              <a:solidFill>
                <a:srgbClr val="BFBFBF"/>
              </a:solidFill>
              <a:prstDash val="dot"/>
            </a:ln>
            <a:effectLst/>
          </p:spPr>
        </p:cxnSp>
        <p:grpSp>
          <p:nvGrpSpPr>
            <p:cNvPr id="3" name="Group 2"/>
            <p:cNvGrpSpPr/>
            <p:nvPr/>
          </p:nvGrpSpPr>
          <p:grpSpPr>
            <a:xfrm>
              <a:off x="467939" y="901153"/>
              <a:ext cx="7245939" cy="4874623"/>
              <a:chOff x="467939" y="901153"/>
              <a:chExt cx="7245939" cy="4874623"/>
            </a:xfrm>
          </p:grpSpPr>
          <p:sp>
            <p:nvSpPr>
              <p:cNvPr id="7" name="Up Arrow 6"/>
              <p:cNvSpPr/>
              <p:nvPr/>
            </p:nvSpPr>
            <p:spPr bwMode="auto">
              <a:xfrm>
                <a:off x="6294417" y="909539"/>
                <a:ext cx="427788" cy="4352544"/>
              </a:xfrm>
              <a:prstGeom prst="upArrow">
                <a:avLst/>
              </a:prstGeom>
              <a:gradFill flip="none" rotWithShape="1">
                <a:gsLst>
                  <a:gs pos="0">
                    <a:schemeClr val="accent1">
                      <a:lumMod val="40000"/>
                      <a:lumOff val="60000"/>
                      <a:alpha val="71000"/>
                    </a:schemeClr>
                  </a:gs>
                  <a:gs pos="46000">
                    <a:schemeClr val="accent1">
                      <a:lumMod val="95000"/>
                      <a:lumOff val="5000"/>
                    </a:schemeClr>
                  </a:gs>
                  <a:gs pos="100000">
                    <a:schemeClr val="accent1">
                      <a:lumMod val="60000"/>
                    </a:schemeClr>
                  </a:gs>
                </a:gsLst>
                <a:path path="circle">
                  <a:fillToRect l="50000" t="130000" r="50000" b="-30000"/>
                </a:path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endParaRPr lang="en-US" sz="3600" b="0" dirty="0" smtClean="0">
                  <a:solidFill>
                    <a:srgbClr val="E2E3E4"/>
                  </a:solidFill>
                  <a:latin typeface="Arial" pitchFamily="34" charset="0"/>
                </a:endParaRPr>
              </a:p>
            </p:txBody>
          </p:sp>
          <p:cxnSp>
            <p:nvCxnSpPr>
              <p:cNvPr id="24" name="Straight Connector 23"/>
              <p:cNvCxnSpPr/>
              <p:nvPr/>
            </p:nvCxnSpPr>
            <p:spPr>
              <a:xfrm flipH="1" flipV="1">
                <a:off x="467939" y="5250590"/>
                <a:ext cx="6483626" cy="7771"/>
              </a:xfrm>
              <a:prstGeom prst="line">
                <a:avLst/>
              </a:prstGeom>
              <a:noFill/>
              <a:ln w="19050" cap="flat" cmpd="sng" algn="ctr">
                <a:solidFill>
                  <a:srgbClr val="BFBFBF"/>
                </a:solidFill>
                <a:prstDash val="solid"/>
              </a:ln>
              <a:effectLst/>
            </p:spPr>
          </p:cxnSp>
          <p:sp>
            <p:nvSpPr>
              <p:cNvPr id="29" name="Pentagon 28"/>
              <p:cNvSpPr/>
              <p:nvPr/>
            </p:nvSpPr>
            <p:spPr>
              <a:xfrm>
                <a:off x="5068986" y="5308984"/>
                <a:ext cx="1521898" cy="257276"/>
              </a:xfrm>
              <a:prstGeom prst="homePlate">
                <a:avLst/>
              </a:prstGeom>
              <a:solidFill>
                <a:srgbClr val="1F3B92"/>
              </a:solidFill>
              <a:ln w="127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lIns="182880" tIns="0" bIns="27432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kern="0" dirty="0" smtClean="0">
                    <a:solidFill>
                      <a:prstClr val="white"/>
                    </a:solidFill>
                    <a:latin typeface="Calibri"/>
                    <a:cs typeface="Arial"/>
                  </a:rPr>
                  <a:t>     Wave </a:t>
                </a:r>
                <a:r>
                  <a:rPr lang="en-US" sz="1000" kern="0" dirty="0">
                    <a:solidFill>
                      <a:prstClr val="white"/>
                    </a:solidFill>
                    <a:latin typeface="Calibri"/>
                    <a:cs typeface="Arial"/>
                  </a:rPr>
                  <a:t>4</a:t>
                </a:r>
                <a:endParaRPr lang="en-US" sz="1000" kern="0" dirty="0" smtClean="0">
                  <a:solidFill>
                    <a:prstClr val="white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30" name="Pentagon 29"/>
              <p:cNvSpPr/>
              <p:nvPr/>
            </p:nvSpPr>
            <p:spPr>
              <a:xfrm>
                <a:off x="3651317" y="5310459"/>
                <a:ext cx="1521898" cy="257276"/>
              </a:xfrm>
              <a:prstGeom prst="homePlate">
                <a:avLst/>
              </a:prstGeom>
              <a:solidFill>
                <a:srgbClr val="1F3B92"/>
              </a:solidFill>
              <a:ln w="127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lIns="182880" tIns="0" bIns="27432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kern="0" dirty="0" smtClean="0">
                    <a:solidFill>
                      <a:prstClr val="white"/>
                    </a:solidFill>
                    <a:latin typeface="Calibri"/>
                    <a:cs typeface="Arial"/>
                  </a:rPr>
                  <a:t>     Wave </a:t>
                </a:r>
                <a:r>
                  <a:rPr lang="en-US" sz="1000" kern="0" dirty="0">
                    <a:solidFill>
                      <a:prstClr val="white"/>
                    </a:solidFill>
                    <a:latin typeface="Calibri"/>
                    <a:cs typeface="Arial"/>
                  </a:rPr>
                  <a:t>3</a:t>
                </a:r>
                <a:endParaRPr lang="en-US" sz="1000" kern="0" dirty="0" smtClean="0">
                  <a:solidFill>
                    <a:prstClr val="white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31" name="Pentagon 30"/>
              <p:cNvSpPr/>
              <p:nvPr/>
            </p:nvSpPr>
            <p:spPr>
              <a:xfrm>
                <a:off x="2235789" y="5309458"/>
                <a:ext cx="1521898" cy="257276"/>
              </a:xfrm>
              <a:prstGeom prst="homePlate">
                <a:avLst/>
              </a:prstGeom>
              <a:solidFill>
                <a:srgbClr val="1F3B92"/>
              </a:solidFill>
              <a:ln w="127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lIns="182880" tIns="0" bIns="27432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kern="0" dirty="0" smtClean="0">
                    <a:solidFill>
                      <a:prstClr val="white"/>
                    </a:solidFill>
                    <a:latin typeface="Calibri"/>
                    <a:cs typeface="Arial"/>
                  </a:rPr>
                  <a:t>     Wave </a:t>
                </a:r>
                <a:r>
                  <a:rPr lang="en-US" sz="1000" kern="0" dirty="0">
                    <a:solidFill>
                      <a:prstClr val="white"/>
                    </a:solidFill>
                    <a:latin typeface="Calibri"/>
                    <a:cs typeface="Arial"/>
                  </a:rPr>
                  <a:t>2</a:t>
                </a:r>
                <a:endParaRPr lang="en-US" sz="1000" kern="0" dirty="0" smtClean="0">
                  <a:solidFill>
                    <a:prstClr val="white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32" name="Pentagon 31"/>
              <p:cNvSpPr/>
              <p:nvPr/>
            </p:nvSpPr>
            <p:spPr>
              <a:xfrm>
                <a:off x="843172" y="5308457"/>
                <a:ext cx="1521898" cy="257276"/>
              </a:xfrm>
              <a:prstGeom prst="homePlate">
                <a:avLst/>
              </a:prstGeom>
              <a:solidFill>
                <a:srgbClr val="1F3B92"/>
              </a:solidFill>
              <a:ln w="127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lIns="182880" tIns="0" bIns="27432"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kern="0" dirty="0" smtClean="0">
                    <a:solidFill>
                      <a:prstClr val="white"/>
                    </a:solidFill>
                    <a:latin typeface="Calibri"/>
                    <a:cs typeface="Arial"/>
                  </a:rPr>
                  <a:t>Wave 1 (Pilot)</a:t>
                </a:r>
              </a:p>
            </p:txBody>
          </p:sp>
          <p:sp>
            <p:nvSpPr>
              <p:cNvPr id="33" name="Freeform 32"/>
              <p:cNvSpPr/>
              <p:nvPr/>
            </p:nvSpPr>
            <p:spPr>
              <a:xfrm>
                <a:off x="958921" y="4731767"/>
                <a:ext cx="1236878" cy="438196"/>
              </a:xfrm>
              <a:custGeom>
                <a:avLst/>
                <a:gdLst>
                  <a:gd name="connsiteX0" fmla="*/ 0 w 455391"/>
                  <a:gd name="connsiteY0" fmla="*/ 20951 h 209513"/>
                  <a:gd name="connsiteX1" fmla="*/ 20951 w 455391"/>
                  <a:gd name="connsiteY1" fmla="*/ 0 h 209513"/>
                  <a:gd name="connsiteX2" fmla="*/ 434440 w 455391"/>
                  <a:gd name="connsiteY2" fmla="*/ 0 h 209513"/>
                  <a:gd name="connsiteX3" fmla="*/ 455391 w 455391"/>
                  <a:gd name="connsiteY3" fmla="*/ 20951 h 209513"/>
                  <a:gd name="connsiteX4" fmla="*/ 455391 w 455391"/>
                  <a:gd name="connsiteY4" fmla="*/ 188562 h 209513"/>
                  <a:gd name="connsiteX5" fmla="*/ 434440 w 455391"/>
                  <a:gd name="connsiteY5" fmla="*/ 209513 h 209513"/>
                  <a:gd name="connsiteX6" fmla="*/ 20951 w 455391"/>
                  <a:gd name="connsiteY6" fmla="*/ 209513 h 209513"/>
                  <a:gd name="connsiteX7" fmla="*/ 0 w 455391"/>
                  <a:gd name="connsiteY7" fmla="*/ 188562 h 209513"/>
                  <a:gd name="connsiteX8" fmla="*/ 0 w 455391"/>
                  <a:gd name="connsiteY8" fmla="*/ 20951 h 209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5391" h="209513">
                    <a:moveTo>
                      <a:pt x="0" y="20951"/>
                    </a:moveTo>
                    <a:cubicBezTo>
                      <a:pt x="0" y="9380"/>
                      <a:pt x="9380" y="0"/>
                      <a:pt x="20951" y="0"/>
                    </a:cubicBezTo>
                    <a:lnTo>
                      <a:pt x="434440" y="0"/>
                    </a:lnTo>
                    <a:cubicBezTo>
                      <a:pt x="446011" y="0"/>
                      <a:pt x="455391" y="9380"/>
                      <a:pt x="455391" y="20951"/>
                    </a:cubicBezTo>
                    <a:lnTo>
                      <a:pt x="455391" y="188562"/>
                    </a:lnTo>
                    <a:cubicBezTo>
                      <a:pt x="455391" y="200133"/>
                      <a:pt x="446011" y="209513"/>
                      <a:pt x="434440" y="209513"/>
                    </a:cubicBezTo>
                    <a:lnTo>
                      <a:pt x="20951" y="209513"/>
                    </a:lnTo>
                    <a:cubicBezTo>
                      <a:pt x="9380" y="209513"/>
                      <a:pt x="0" y="200133"/>
                      <a:pt x="0" y="188562"/>
                    </a:cubicBezTo>
                    <a:lnTo>
                      <a:pt x="0" y="2095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solidFill>
                  <a:srgbClr val="ADCDEC"/>
                </a:solidFill>
              </a:ln>
              <a:effectLst/>
              <a:scene3d>
                <a:camera prst="orthographicFront"/>
                <a:lightRig rig="flat" dir="t"/>
              </a:scene3d>
              <a:sp3d prstMaterial="dkEdge"/>
            </p:spPr>
            <p:txBody>
              <a:bodyPr spcFirstLastPara="0" vert="horz" wrap="square" lIns="28996" tIns="28996" rIns="28996" bIns="28996" numCol="1" spcCol="1270" anchor="ctr" anchorCtr="0">
                <a:noAutofit/>
              </a:bodyPr>
              <a:lstStyle/>
              <a:p>
                <a:pPr algn="ctr" defTabSz="266700" fontAlgn="auto">
                  <a:lnSpc>
                    <a:spcPct val="90000"/>
                  </a:lnSpc>
                  <a:spcBef>
                    <a:spcPts val="0"/>
                  </a:spcBef>
                  <a:spcAft>
                    <a:spcPct val="35000"/>
                  </a:spcAft>
                </a:pPr>
                <a:r>
                  <a:rPr lang="en-US" sz="1200" kern="0" dirty="0">
                    <a:solidFill>
                      <a:srgbClr val="008CE2"/>
                    </a:solidFill>
                    <a:latin typeface="Calibri"/>
                  </a:rPr>
                  <a:t>App Group 1</a:t>
                </a:r>
              </a:p>
            </p:txBody>
          </p:sp>
          <p:sp>
            <p:nvSpPr>
              <p:cNvPr id="34" name="Freeform 33"/>
              <p:cNvSpPr/>
              <p:nvPr/>
            </p:nvSpPr>
            <p:spPr>
              <a:xfrm>
                <a:off x="2341997" y="4731767"/>
                <a:ext cx="1236878" cy="438196"/>
              </a:xfrm>
              <a:custGeom>
                <a:avLst/>
                <a:gdLst>
                  <a:gd name="connsiteX0" fmla="*/ 0 w 455391"/>
                  <a:gd name="connsiteY0" fmla="*/ 20951 h 209513"/>
                  <a:gd name="connsiteX1" fmla="*/ 20951 w 455391"/>
                  <a:gd name="connsiteY1" fmla="*/ 0 h 209513"/>
                  <a:gd name="connsiteX2" fmla="*/ 434440 w 455391"/>
                  <a:gd name="connsiteY2" fmla="*/ 0 h 209513"/>
                  <a:gd name="connsiteX3" fmla="*/ 455391 w 455391"/>
                  <a:gd name="connsiteY3" fmla="*/ 20951 h 209513"/>
                  <a:gd name="connsiteX4" fmla="*/ 455391 w 455391"/>
                  <a:gd name="connsiteY4" fmla="*/ 188562 h 209513"/>
                  <a:gd name="connsiteX5" fmla="*/ 434440 w 455391"/>
                  <a:gd name="connsiteY5" fmla="*/ 209513 h 209513"/>
                  <a:gd name="connsiteX6" fmla="*/ 20951 w 455391"/>
                  <a:gd name="connsiteY6" fmla="*/ 209513 h 209513"/>
                  <a:gd name="connsiteX7" fmla="*/ 0 w 455391"/>
                  <a:gd name="connsiteY7" fmla="*/ 188562 h 209513"/>
                  <a:gd name="connsiteX8" fmla="*/ 0 w 455391"/>
                  <a:gd name="connsiteY8" fmla="*/ 20951 h 209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5391" h="209513">
                    <a:moveTo>
                      <a:pt x="0" y="20951"/>
                    </a:moveTo>
                    <a:cubicBezTo>
                      <a:pt x="0" y="9380"/>
                      <a:pt x="9380" y="0"/>
                      <a:pt x="20951" y="0"/>
                    </a:cubicBezTo>
                    <a:lnTo>
                      <a:pt x="434440" y="0"/>
                    </a:lnTo>
                    <a:cubicBezTo>
                      <a:pt x="446011" y="0"/>
                      <a:pt x="455391" y="9380"/>
                      <a:pt x="455391" y="20951"/>
                    </a:cubicBezTo>
                    <a:lnTo>
                      <a:pt x="455391" y="188562"/>
                    </a:lnTo>
                    <a:cubicBezTo>
                      <a:pt x="455391" y="200133"/>
                      <a:pt x="446011" y="209513"/>
                      <a:pt x="434440" y="209513"/>
                    </a:cubicBezTo>
                    <a:lnTo>
                      <a:pt x="20951" y="209513"/>
                    </a:lnTo>
                    <a:cubicBezTo>
                      <a:pt x="9380" y="209513"/>
                      <a:pt x="0" y="200133"/>
                      <a:pt x="0" y="188562"/>
                    </a:cubicBezTo>
                    <a:lnTo>
                      <a:pt x="0" y="2095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solidFill>
                  <a:srgbClr val="ADCDEC"/>
                </a:solidFill>
              </a:ln>
              <a:effectLst/>
              <a:scene3d>
                <a:camera prst="orthographicFront"/>
                <a:lightRig rig="flat" dir="t"/>
              </a:scene3d>
              <a:sp3d prstMaterial="dkEdge"/>
            </p:spPr>
            <p:txBody>
              <a:bodyPr spcFirstLastPara="0" vert="horz" wrap="square" lIns="28996" tIns="28996" rIns="28996" bIns="28996" numCol="1" spcCol="1270" anchor="ctr" anchorCtr="0">
                <a:noAutofit/>
              </a:bodyPr>
              <a:lstStyle/>
              <a:p>
                <a:pPr algn="ctr" defTabSz="266700" fontAlgn="auto">
                  <a:lnSpc>
                    <a:spcPct val="90000"/>
                  </a:lnSpc>
                  <a:spcBef>
                    <a:spcPts val="0"/>
                  </a:spcBef>
                  <a:spcAft>
                    <a:spcPct val="35000"/>
                  </a:spcAft>
                </a:pPr>
                <a:r>
                  <a:rPr lang="en-US" sz="1200" kern="0" dirty="0">
                    <a:solidFill>
                      <a:srgbClr val="008CE2"/>
                    </a:solidFill>
                    <a:latin typeface="Calibri"/>
                  </a:rPr>
                  <a:t>App Group 2</a:t>
                </a:r>
              </a:p>
            </p:txBody>
          </p:sp>
          <p:sp>
            <p:nvSpPr>
              <p:cNvPr id="35" name="Freeform 34"/>
              <p:cNvSpPr/>
              <p:nvPr/>
            </p:nvSpPr>
            <p:spPr>
              <a:xfrm>
                <a:off x="3750534" y="4731766"/>
                <a:ext cx="1236878" cy="438196"/>
              </a:xfrm>
              <a:custGeom>
                <a:avLst/>
                <a:gdLst>
                  <a:gd name="connsiteX0" fmla="*/ 0 w 455391"/>
                  <a:gd name="connsiteY0" fmla="*/ 20951 h 209513"/>
                  <a:gd name="connsiteX1" fmla="*/ 20951 w 455391"/>
                  <a:gd name="connsiteY1" fmla="*/ 0 h 209513"/>
                  <a:gd name="connsiteX2" fmla="*/ 434440 w 455391"/>
                  <a:gd name="connsiteY2" fmla="*/ 0 h 209513"/>
                  <a:gd name="connsiteX3" fmla="*/ 455391 w 455391"/>
                  <a:gd name="connsiteY3" fmla="*/ 20951 h 209513"/>
                  <a:gd name="connsiteX4" fmla="*/ 455391 w 455391"/>
                  <a:gd name="connsiteY4" fmla="*/ 188562 h 209513"/>
                  <a:gd name="connsiteX5" fmla="*/ 434440 w 455391"/>
                  <a:gd name="connsiteY5" fmla="*/ 209513 h 209513"/>
                  <a:gd name="connsiteX6" fmla="*/ 20951 w 455391"/>
                  <a:gd name="connsiteY6" fmla="*/ 209513 h 209513"/>
                  <a:gd name="connsiteX7" fmla="*/ 0 w 455391"/>
                  <a:gd name="connsiteY7" fmla="*/ 188562 h 209513"/>
                  <a:gd name="connsiteX8" fmla="*/ 0 w 455391"/>
                  <a:gd name="connsiteY8" fmla="*/ 20951 h 209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5391" h="209513">
                    <a:moveTo>
                      <a:pt x="0" y="20951"/>
                    </a:moveTo>
                    <a:cubicBezTo>
                      <a:pt x="0" y="9380"/>
                      <a:pt x="9380" y="0"/>
                      <a:pt x="20951" y="0"/>
                    </a:cubicBezTo>
                    <a:lnTo>
                      <a:pt x="434440" y="0"/>
                    </a:lnTo>
                    <a:cubicBezTo>
                      <a:pt x="446011" y="0"/>
                      <a:pt x="455391" y="9380"/>
                      <a:pt x="455391" y="20951"/>
                    </a:cubicBezTo>
                    <a:lnTo>
                      <a:pt x="455391" y="188562"/>
                    </a:lnTo>
                    <a:cubicBezTo>
                      <a:pt x="455391" y="200133"/>
                      <a:pt x="446011" y="209513"/>
                      <a:pt x="434440" y="209513"/>
                    </a:cubicBezTo>
                    <a:lnTo>
                      <a:pt x="20951" y="209513"/>
                    </a:lnTo>
                    <a:cubicBezTo>
                      <a:pt x="9380" y="209513"/>
                      <a:pt x="0" y="200133"/>
                      <a:pt x="0" y="188562"/>
                    </a:cubicBezTo>
                    <a:lnTo>
                      <a:pt x="0" y="2095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solidFill>
                  <a:srgbClr val="ADCDEC"/>
                </a:solidFill>
              </a:ln>
              <a:effectLst/>
              <a:scene3d>
                <a:camera prst="orthographicFront"/>
                <a:lightRig rig="flat" dir="t"/>
              </a:scene3d>
              <a:sp3d prstMaterial="dkEdge"/>
            </p:spPr>
            <p:txBody>
              <a:bodyPr spcFirstLastPara="0" vert="horz" wrap="square" lIns="28996" tIns="28996" rIns="28996" bIns="28996" numCol="1" spcCol="1270" anchor="ctr" anchorCtr="0">
                <a:noAutofit/>
              </a:bodyPr>
              <a:lstStyle/>
              <a:p>
                <a:pPr algn="ctr" defTabSz="266700" fontAlgn="auto">
                  <a:lnSpc>
                    <a:spcPct val="90000"/>
                  </a:lnSpc>
                  <a:spcBef>
                    <a:spcPts val="0"/>
                  </a:spcBef>
                  <a:spcAft>
                    <a:spcPct val="35000"/>
                  </a:spcAft>
                </a:pPr>
                <a:r>
                  <a:rPr lang="en-US" sz="1200" kern="0" dirty="0">
                    <a:solidFill>
                      <a:srgbClr val="008CE2"/>
                    </a:solidFill>
                    <a:latin typeface="Calibri"/>
                  </a:rPr>
                  <a:t>App Group 3</a:t>
                </a:r>
              </a:p>
            </p:txBody>
          </p:sp>
          <p:sp>
            <p:nvSpPr>
              <p:cNvPr id="36" name="Freeform 35"/>
              <p:cNvSpPr/>
              <p:nvPr/>
            </p:nvSpPr>
            <p:spPr>
              <a:xfrm>
                <a:off x="5138297" y="4731765"/>
                <a:ext cx="1236878" cy="438196"/>
              </a:xfrm>
              <a:custGeom>
                <a:avLst/>
                <a:gdLst>
                  <a:gd name="connsiteX0" fmla="*/ 0 w 455391"/>
                  <a:gd name="connsiteY0" fmla="*/ 20951 h 209513"/>
                  <a:gd name="connsiteX1" fmla="*/ 20951 w 455391"/>
                  <a:gd name="connsiteY1" fmla="*/ 0 h 209513"/>
                  <a:gd name="connsiteX2" fmla="*/ 434440 w 455391"/>
                  <a:gd name="connsiteY2" fmla="*/ 0 h 209513"/>
                  <a:gd name="connsiteX3" fmla="*/ 455391 w 455391"/>
                  <a:gd name="connsiteY3" fmla="*/ 20951 h 209513"/>
                  <a:gd name="connsiteX4" fmla="*/ 455391 w 455391"/>
                  <a:gd name="connsiteY4" fmla="*/ 188562 h 209513"/>
                  <a:gd name="connsiteX5" fmla="*/ 434440 w 455391"/>
                  <a:gd name="connsiteY5" fmla="*/ 209513 h 209513"/>
                  <a:gd name="connsiteX6" fmla="*/ 20951 w 455391"/>
                  <a:gd name="connsiteY6" fmla="*/ 209513 h 209513"/>
                  <a:gd name="connsiteX7" fmla="*/ 0 w 455391"/>
                  <a:gd name="connsiteY7" fmla="*/ 188562 h 209513"/>
                  <a:gd name="connsiteX8" fmla="*/ 0 w 455391"/>
                  <a:gd name="connsiteY8" fmla="*/ 20951 h 209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5391" h="209513">
                    <a:moveTo>
                      <a:pt x="0" y="20951"/>
                    </a:moveTo>
                    <a:cubicBezTo>
                      <a:pt x="0" y="9380"/>
                      <a:pt x="9380" y="0"/>
                      <a:pt x="20951" y="0"/>
                    </a:cubicBezTo>
                    <a:lnTo>
                      <a:pt x="434440" y="0"/>
                    </a:lnTo>
                    <a:cubicBezTo>
                      <a:pt x="446011" y="0"/>
                      <a:pt x="455391" y="9380"/>
                      <a:pt x="455391" y="20951"/>
                    </a:cubicBezTo>
                    <a:lnTo>
                      <a:pt x="455391" y="188562"/>
                    </a:lnTo>
                    <a:cubicBezTo>
                      <a:pt x="455391" y="200133"/>
                      <a:pt x="446011" y="209513"/>
                      <a:pt x="434440" y="209513"/>
                    </a:cubicBezTo>
                    <a:lnTo>
                      <a:pt x="20951" y="209513"/>
                    </a:lnTo>
                    <a:cubicBezTo>
                      <a:pt x="9380" y="209513"/>
                      <a:pt x="0" y="200133"/>
                      <a:pt x="0" y="188562"/>
                    </a:cubicBezTo>
                    <a:lnTo>
                      <a:pt x="0" y="2095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solidFill>
                  <a:srgbClr val="ADCDEC"/>
                </a:solidFill>
              </a:ln>
              <a:effectLst/>
              <a:scene3d>
                <a:camera prst="orthographicFront"/>
                <a:lightRig rig="flat" dir="t"/>
              </a:scene3d>
              <a:sp3d prstMaterial="dkEdge"/>
            </p:spPr>
            <p:txBody>
              <a:bodyPr spcFirstLastPara="0" vert="horz" wrap="square" lIns="28996" tIns="28996" rIns="28996" bIns="28996" numCol="1" spcCol="1270" anchor="ctr" anchorCtr="0">
                <a:noAutofit/>
              </a:bodyPr>
              <a:lstStyle/>
              <a:p>
                <a:pPr algn="ctr" defTabSz="266700" fontAlgn="auto">
                  <a:lnSpc>
                    <a:spcPct val="90000"/>
                  </a:lnSpc>
                  <a:spcBef>
                    <a:spcPts val="0"/>
                  </a:spcBef>
                  <a:spcAft>
                    <a:spcPct val="35000"/>
                  </a:spcAft>
                </a:pPr>
                <a:r>
                  <a:rPr lang="en-US" sz="1200" kern="0" dirty="0">
                    <a:solidFill>
                      <a:srgbClr val="008CE2"/>
                    </a:solidFill>
                    <a:latin typeface="Calibri"/>
                  </a:rPr>
                  <a:t>App Group 4</a:t>
                </a:r>
              </a:p>
            </p:txBody>
          </p:sp>
          <p:sp>
            <p:nvSpPr>
              <p:cNvPr id="39" name="Freeform 38"/>
              <p:cNvSpPr/>
              <p:nvPr/>
            </p:nvSpPr>
            <p:spPr>
              <a:xfrm>
                <a:off x="5138297" y="4069343"/>
                <a:ext cx="1236878" cy="438196"/>
              </a:xfrm>
              <a:custGeom>
                <a:avLst/>
                <a:gdLst>
                  <a:gd name="connsiteX0" fmla="*/ 0 w 455391"/>
                  <a:gd name="connsiteY0" fmla="*/ 20951 h 209513"/>
                  <a:gd name="connsiteX1" fmla="*/ 20951 w 455391"/>
                  <a:gd name="connsiteY1" fmla="*/ 0 h 209513"/>
                  <a:gd name="connsiteX2" fmla="*/ 434440 w 455391"/>
                  <a:gd name="connsiteY2" fmla="*/ 0 h 209513"/>
                  <a:gd name="connsiteX3" fmla="*/ 455391 w 455391"/>
                  <a:gd name="connsiteY3" fmla="*/ 20951 h 209513"/>
                  <a:gd name="connsiteX4" fmla="*/ 455391 w 455391"/>
                  <a:gd name="connsiteY4" fmla="*/ 188562 h 209513"/>
                  <a:gd name="connsiteX5" fmla="*/ 434440 w 455391"/>
                  <a:gd name="connsiteY5" fmla="*/ 209513 h 209513"/>
                  <a:gd name="connsiteX6" fmla="*/ 20951 w 455391"/>
                  <a:gd name="connsiteY6" fmla="*/ 209513 h 209513"/>
                  <a:gd name="connsiteX7" fmla="*/ 0 w 455391"/>
                  <a:gd name="connsiteY7" fmla="*/ 188562 h 209513"/>
                  <a:gd name="connsiteX8" fmla="*/ 0 w 455391"/>
                  <a:gd name="connsiteY8" fmla="*/ 20951 h 209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5391" h="209513">
                    <a:moveTo>
                      <a:pt x="0" y="20951"/>
                    </a:moveTo>
                    <a:cubicBezTo>
                      <a:pt x="0" y="9380"/>
                      <a:pt x="9380" y="0"/>
                      <a:pt x="20951" y="0"/>
                    </a:cubicBezTo>
                    <a:lnTo>
                      <a:pt x="434440" y="0"/>
                    </a:lnTo>
                    <a:cubicBezTo>
                      <a:pt x="446011" y="0"/>
                      <a:pt x="455391" y="9380"/>
                      <a:pt x="455391" y="20951"/>
                    </a:cubicBezTo>
                    <a:lnTo>
                      <a:pt x="455391" y="188562"/>
                    </a:lnTo>
                    <a:cubicBezTo>
                      <a:pt x="455391" y="200133"/>
                      <a:pt x="446011" y="209513"/>
                      <a:pt x="434440" y="209513"/>
                    </a:cubicBezTo>
                    <a:lnTo>
                      <a:pt x="20951" y="209513"/>
                    </a:lnTo>
                    <a:cubicBezTo>
                      <a:pt x="9380" y="209513"/>
                      <a:pt x="0" y="200133"/>
                      <a:pt x="0" y="188562"/>
                    </a:cubicBezTo>
                    <a:lnTo>
                      <a:pt x="0" y="20951"/>
                    </a:lnTo>
                    <a:close/>
                  </a:path>
                </a:pathLst>
              </a:custGeom>
              <a:solidFill>
                <a:srgbClr val="ADCDEC">
                  <a:alpha val="30000"/>
                </a:srgbClr>
              </a:solidFill>
              <a:ln>
                <a:noFill/>
              </a:ln>
              <a:effectLst/>
              <a:scene3d>
                <a:camera prst="orthographicFront"/>
                <a:lightRig rig="flat" dir="t"/>
              </a:scene3d>
              <a:sp3d prstMaterial="dkEdge"/>
            </p:spPr>
            <p:txBody>
              <a:bodyPr spcFirstLastPara="0" vert="horz" wrap="square" lIns="41843" tIns="0" rIns="41843" bIns="18288" numCol="1" spcCol="1270" anchor="ctr" anchorCtr="0">
                <a:noAutofit/>
              </a:bodyPr>
              <a:lstStyle/>
              <a:p>
                <a:pPr algn="ctr" defTabSz="400050" fontAlgn="auto">
                  <a:lnSpc>
                    <a:spcPct val="90000"/>
                  </a:lnSpc>
                  <a:spcBef>
                    <a:spcPts val="0"/>
                  </a:spcBef>
                  <a:spcAft>
                    <a:spcPct val="35000"/>
                  </a:spcAft>
                </a:pPr>
                <a:r>
                  <a:rPr lang="en-US" sz="1200" kern="0" dirty="0">
                    <a:solidFill>
                      <a:srgbClr val="3C3C3C">
                        <a:hueOff val="0"/>
                        <a:satOff val="0"/>
                        <a:lumOff val="0"/>
                        <a:alphaOff val="0"/>
                      </a:srgbClr>
                    </a:solidFill>
                    <a:latin typeface="Calibri"/>
                  </a:rPr>
                  <a:t>App Group 3</a:t>
                </a:r>
              </a:p>
            </p:txBody>
          </p:sp>
          <p:sp>
            <p:nvSpPr>
              <p:cNvPr id="40" name="Freeform 39"/>
              <p:cNvSpPr/>
              <p:nvPr/>
            </p:nvSpPr>
            <p:spPr>
              <a:xfrm>
                <a:off x="3742011" y="3438137"/>
                <a:ext cx="1236878" cy="438196"/>
              </a:xfrm>
              <a:custGeom>
                <a:avLst/>
                <a:gdLst>
                  <a:gd name="connsiteX0" fmla="*/ 0 w 455391"/>
                  <a:gd name="connsiteY0" fmla="*/ 20951 h 209513"/>
                  <a:gd name="connsiteX1" fmla="*/ 20951 w 455391"/>
                  <a:gd name="connsiteY1" fmla="*/ 0 h 209513"/>
                  <a:gd name="connsiteX2" fmla="*/ 434440 w 455391"/>
                  <a:gd name="connsiteY2" fmla="*/ 0 h 209513"/>
                  <a:gd name="connsiteX3" fmla="*/ 455391 w 455391"/>
                  <a:gd name="connsiteY3" fmla="*/ 20951 h 209513"/>
                  <a:gd name="connsiteX4" fmla="*/ 455391 w 455391"/>
                  <a:gd name="connsiteY4" fmla="*/ 188562 h 209513"/>
                  <a:gd name="connsiteX5" fmla="*/ 434440 w 455391"/>
                  <a:gd name="connsiteY5" fmla="*/ 209513 h 209513"/>
                  <a:gd name="connsiteX6" fmla="*/ 20951 w 455391"/>
                  <a:gd name="connsiteY6" fmla="*/ 209513 h 209513"/>
                  <a:gd name="connsiteX7" fmla="*/ 0 w 455391"/>
                  <a:gd name="connsiteY7" fmla="*/ 188562 h 209513"/>
                  <a:gd name="connsiteX8" fmla="*/ 0 w 455391"/>
                  <a:gd name="connsiteY8" fmla="*/ 20951 h 209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5391" h="209513">
                    <a:moveTo>
                      <a:pt x="0" y="20951"/>
                    </a:moveTo>
                    <a:cubicBezTo>
                      <a:pt x="0" y="9380"/>
                      <a:pt x="9380" y="0"/>
                      <a:pt x="20951" y="0"/>
                    </a:cubicBezTo>
                    <a:lnTo>
                      <a:pt x="434440" y="0"/>
                    </a:lnTo>
                    <a:cubicBezTo>
                      <a:pt x="446011" y="0"/>
                      <a:pt x="455391" y="9380"/>
                      <a:pt x="455391" y="20951"/>
                    </a:cubicBezTo>
                    <a:lnTo>
                      <a:pt x="455391" y="188562"/>
                    </a:lnTo>
                    <a:cubicBezTo>
                      <a:pt x="455391" y="200133"/>
                      <a:pt x="446011" y="209513"/>
                      <a:pt x="434440" y="209513"/>
                    </a:cubicBezTo>
                    <a:lnTo>
                      <a:pt x="20951" y="209513"/>
                    </a:lnTo>
                    <a:cubicBezTo>
                      <a:pt x="9380" y="209513"/>
                      <a:pt x="0" y="200133"/>
                      <a:pt x="0" y="188562"/>
                    </a:cubicBezTo>
                    <a:lnTo>
                      <a:pt x="0" y="20951"/>
                    </a:lnTo>
                    <a:close/>
                  </a:path>
                </a:pathLst>
              </a:custGeom>
              <a:solidFill>
                <a:srgbClr val="ADCDEC"/>
              </a:solidFill>
              <a:ln>
                <a:noFill/>
              </a:ln>
              <a:effectLst/>
              <a:scene3d>
                <a:camera prst="orthographicFront"/>
                <a:lightRig rig="flat" dir="t"/>
              </a:scene3d>
              <a:sp3d prstMaterial="dkEdge"/>
            </p:spPr>
            <p:txBody>
              <a:bodyPr spcFirstLastPara="0" vert="horz" wrap="square" lIns="40426" tIns="40426" rIns="40426" bIns="40426" numCol="1" spcCol="1270" anchor="ctr" anchorCtr="0">
                <a:noAutofit/>
              </a:bodyPr>
              <a:lstStyle/>
              <a:p>
                <a:pPr algn="ctr" defTabSz="400050" fontAlgn="auto">
                  <a:lnSpc>
                    <a:spcPct val="90000"/>
                  </a:lnSpc>
                  <a:spcBef>
                    <a:spcPts val="0"/>
                  </a:spcBef>
                  <a:spcAft>
                    <a:spcPct val="35000"/>
                  </a:spcAft>
                  <a:defRPr/>
                </a:pPr>
                <a:r>
                  <a:rPr lang="en-US" sz="1200" b="0" kern="0" dirty="0" smtClean="0">
                    <a:solidFill>
                      <a:srgbClr val="3C3C3C">
                        <a:hueOff val="0"/>
                        <a:satOff val="0"/>
                        <a:lumOff val="0"/>
                        <a:alphaOff val="0"/>
                      </a:srgbClr>
                    </a:solidFill>
                    <a:latin typeface="Calibri"/>
                    <a:cs typeface="Arial"/>
                  </a:rPr>
                  <a:t>App Group 1</a:t>
                </a:r>
              </a:p>
            </p:txBody>
          </p:sp>
          <p:sp>
            <p:nvSpPr>
              <p:cNvPr id="41" name="Freeform 40"/>
              <p:cNvSpPr/>
              <p:nvPr/>
            </p:nvSpPr>
            <p:spPr>
              <a:xfrm>
                <a:off x="5138297" y="3426808"/>
                <a:ext cx="1236878" cy="438196"/>
              </a:xfrm>
              <a:custGeom>
                <a:avLst/>
                <a:gdLst>
                  <a:gd name="connsiteX0" fmla="*/ 0 w 455391"/>
                  <a:gd name="connsiteY0" fmla="*/ 20951 h 209513"/>
                  <a:gd name="connsiteX1" fmla="*/ 20951 w 455391"/>
                  <a:gd name="connsiteY1" fmla="*/ 0 h 209513"/>
                  <a:gd name="connsiteX2" fmla="*/ 434440 w 455391"/>
                  <a:gd name="connsiteY2" fmla="*/ 0 h 209513"/>
                  <a:gd name="connsiteX3" fmla="*/ 455391 w 455391"/>
                  <a:gd name="connsiteY3" fmla="*/ 20951 h 209513"/>
                  <a:gd name="connsiteX4" fmla="*/ 455391 w 455391"/>
                  <a:gd name="connsiteY4" fmla="*/ 188562 h 209513"/>
                  <a:gd name="connsiteX5" fmla="*/ 434440 w 455391"/>
                  <a:gd name="connsiteY5" fmla="*/ 209513 h 209513"/>
                  <a:gd name="connsiteX6" fmla="*/ 20951 w 455391"/>
                  <a:gd name="connsiteY6" fmla="*/ 209513 h 209513"/>
                  <a:gd name="connsiteX7" fmla="*/ 0 w 455391"/>
                  <a:gd name="connsiteY7" fmla="*/ 188562 h 209513"/>
                  <a:gd name="connsiteX8" fmla="*/ 0 w 455391"/>
                  <a:gd name="connsiteY8" fmla="*/ 20951 h 209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5391" h="209513">
                    <a:moveTo>
                      <a:pt x="0" y="20951"/>
                    </a:moveTo>
                    <a:cubicBezTo>
                      <a:pt x="0" y="9380"/>
                      <a:pt x="9380" y="0"/>
                      <a:pt x="20951" y="0"/>
                    </a:cubicBezTo>
                    <a:lnTo>
                      <a:pt x="434440" y="0"/>
                    </a:lnTo>
                    <a:cubicBezTo>
                      <a:pt x="446011" y="0"/>
                      <a:pt x="455391" y="9380"/>
                      <a:pt x="455391" y="20951"/>
                    </a:cubicBezTo>
                    <a:lnTo>
                      <a:pt x="455391" y="188562"/>
                    </a:lnTo>
                    <a:cubicBezTo>
                      <a:pt x="455391" y="200133"/>
                      <a:pt x="446011" y="209513"/>
                      <a:pt x="434440" y="209513"/>
                    </a:cubicBezTo>
                    <a:lnTo>
                      <a:pt x="20951" y="209513"/>
                    </a:lnTo>
                    <a:cubicBezTo>
                      <a:pt x="9380" y="209513"/>
                      <a:pt x="0" y="200133"/>
                      <a:pt x="0" y="188562"/>
                    </a:cubicBezTo>
                    <a:lnTo>
                      <a:pt x="0" y="20951"/>
                    </a:lnTo>
                    <a:close/>
                  </a:path>
                </a:pathLst>
              </a:custGeom>
              <a:solidFill>
                <a:srgbClr val="ADCDEC"/>
              </a:solidFill>
              <a:ln>
                <a:noFill/>
              </a:ln>
              <a:effectLst/>
              <a:scene3d>
                <a:camera prst="orthographicFront"/>
                <a:lightRig rig="flat" dir="t"/>
              </a:scene3d>
              <a:sp3d prstMaterial="dkEdge"/>
            </p:spPr>
            <p:txBody>
              <a:bodyPr spcFirstLastPara="0" vert="horz" wrap="square" lIns="40426" tIns="40426" rIns="40426" bIns="40426" numCol="1" spcCol="1270" anchor="ctr" anchorCtr="0">
                <a:noAutofit/>
              </a:bodyPr>
              <a:lstStyle/>
              <a:p>
                <a:pPr algn="ctr" defTabSz="400050" fontAlgn="auto">
                  <a:lnSpc>
                    <a:spcPct val="90000"/>
                  </a:lnSpc>
                  <a:spcBef>
                    <a:spcPts val="0"/>
                  </a:spcBef>
                  <a:spcAft>
                    <a:spcPct val="35000"/>
                  </a:spcAft>
                  <a:defRPr/>
                </a:pPr>
                <a:r>
                  <a:rPr lang="en-US" sz="1200" b="0" kern="0" dirty="0" smtClean="0">
                    <a:solidFill>
                      <a:srgbClr val="3C3C3C">
                        <a:hueOff val="0"/>
                        <a:satOff val="0"/>
                        <a:lumOff val="0"/>
                        <a:alphaOff val="0"/>
                      </a:srgbClr>
                    </a:solidFill>
                    <a:latin typeface="Calibri"/>
                    <a:cs typeface="Arial"/>
                  </a:rPr>
                  <a:t>App Group 2</a:t>
                </a:r>
              </a:p>
            </p:txBody>
          </p:sp>
          <p:sp>
            <p:nvSpPr>
              <p:cNvPr id="42" name="Up Arrow 41"/>
              <p:cNvSpPr/>
              <p:nvPr/>
            </p:nvSpPr>
            <p:spPr bwMode="auto">
              <a:xfrm>
                <a:off x="509777" y="901153"/>
                <a:ext cx="429756" cy="4348822"/>
              </a:xfrm>
              <a:prstGeom prst="upArrow">
                <a:avLst/>
              </a:prstGeom>
              <a:gradFill flip="none" rotWithShape="1">
                <a:gsLst>
                  <a:gs pos="0">
                    <a:schemeClr val="accent1">
                      <a:lumMod val="40000"/>
                      <a:lumOff val="60000"/>
                      <a:alpha val="71000"/>
                    </a:schemeClr>
                  </a:gs>
                  <a:gs pos="46000">
                    <a:schemeClr val="accent1">
                      <a:lumMod val="95000"/>
                      <a:lumOff val="5000"/>
                    </a:schemeClr>
                  </a:gs>
                  <a:gs pos="100000">
                    <a:schemeClr val="accent1">
                      <a:lumMod val="60000"/>
                    </a:schemeClr>
                  </a:gs>
                </a:gsLst>
                <a:path path="circle">
                  <a:fillToRect l="50000" t="130000" r="50000" b="-30000"/>
                </a:path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endParaRPr lang="en-US" sz="3600" b="0" dirty="0" smtClean="0">
                  <a:solidFill>
                    <a:srgbClr val="E2E3E4"/>
                  </a:solidFill>
                  <a:latin typeface="Arial" pitchFamily="34" charset="0"/>
                </a:endParaRPr>
              </a:p>
            </p:txBody>
          </p:sp>
          <p:sp>
            <p:nvSpPr>
              <p:cNvPr id="44" name="TextBox 43"/>
              <p:cNvSpPr txBox="1"/>
              <p:nvPr/>
            </p:nvSpPr>
            <p:spPr bwMode="auto">
              <a:xfrm flipH="1">
                <a:off x="604886" y="1114426"/>
                <a:ext cx="227190" cy="414393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vert="vert270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82550" algn="ctr"/>
                <a:r>
                  <a:rPr lang="en-US" sz="1400" i="1" dirty="0" smtClean="0">
                    <a:solidFill>
                      <a:schemeClr val="bg2">
                        <a:lumMod val="25000"/>
                      </a:schemeClr>
                    </a:solidFill>
                    <a:latin typeface="Expert Sans Light" pitchFamily="34" charset="0"/>
                  </a:rPr>
                  <a:t>DevOps Platform Maturity </a:t>
                </a:r>
              </a:p>
            </p:txBody>
          </p:sp>
          <p:sp>
            <p:nvSpPr>
              <p:cNvPr id="45" name="Freeform 44"/>
              <p:cNvSpPr/>
              <p:nvPr/>
            </p:nvSpPr>
            <p:spPr>
              <a:xfrm>
                <a:off x="5138296" y="2736146"/>
                <a:ext cx="1236878" cy="438196"/>
              </a:xfrm>
              <a:custGeom>
                <a:avLst/>
                <a:gdLst>
                  <a:gd name="connsiteX0" fmla="*/ 0 w 455391"/>
                  <a:gd name="connsiteY0" fmla="*/ 20951 h 209513"/>
                  <a:gd name="connsiteX1" fmla="*/ 20951 w 455391"/>
                  <a:gd name="connsiteY1" fmla="*/ 0 h 209513"/>
                  <a:gd name="connsiteX2" fmla="*/ 434440 w 455391"/>
                  <a:gd name="connsiteY2" fmla="*/ 0 h 209513"/>
                  <a:gd name="connsiteX3" fmla="*/ 455391 w 455391"/>
                  <a:gd name="connsiteY3" fmla="*/ 20951 h 209513"/>
                  <a:gd name="connsiteX4" fmla="*/ 455391 w 455391"/>
                  <a:gd name="connsiteY4" fmla="*/ 188562 h 209513"/>
                  <a:gd name="connsiteX5" fmla="*/ 434440 w 455391"/>
                  <a:gd name="connsiteY5" fmla="*/ 209513 h 209513"/>
                  <a:gd name="connsiteX6" fmla="*/ 20951 w 455391"/>
                  <a:gd name="connsiteY6" fmla="*/ 209513 h 209513"/>
                  <a:gd name="connsiteX7" fmla="*/ 0 w 455391"/>
                  <a:gd name="connsiteY7" fmla="*/ 188562 h 209513"/>
                  <a:gd name="connsiteX8" fmla="*/ 0 w 455391"/>
                  <a:gd name="connsiteY8" fmla="*/ 20951 h 209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5391" h="209513">
                    <a:moveTo>
                      <a:pt x="0" y="20951"/>
                    </a:moveTo>
                    <a:cubicBezTo>
                      <a:pt x="0" y="9380"/>
                      <a:pt x="9380" y="0"/>
                      <a:pt x="20951" y="0"/>
                    </a:cubicBezTo>
                    <a:lnTo>
                      <a:pt x="434440" y="0"/>
                    </a:lnTo>
                    <a:cubicBezTo>
                      <a:pt x="446011" y="0"/>
                      <a:pt x="455391" y="9380"/>
                      <a:pt x="455391" y="20951"/>
                    </a:cubicBezTo>
                    <a:lnTo>
                      <a:pt x="455391" y="188562"/>
                    </a:lnTo>
                    <a:cubicBezTo>
                      <a:pt x="455391" y="200133"/>
                      <a:pt x="446011" y="209513"/>
                      <a:pt x="434440" y="209513"/>
                    </a:cubicBezTo>
                    <a:lnTo>
                      <a:pt x="20951" y="209513"/>
                    </a:lnTo>
                    <a:cubicBezTo>
                      <a:pt x="9380" y="209513"/>
                      <a:pt x="0" y="200133"/>
                      <a:pt x="0" y="188562"/>
                    </a:cubicBezTo>
                    <a:lnTo>
                      <a:pt x="0" y="2095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flat" dir="t"/>
              </a:scene3d>
              <a:sp3d prstMaterial="dkEdge"/>
            </p:spPr>
            <p:txBody>
              <a:bodyPr spcFirstLastPara="0" vert="horz" wrap="square" lIns="40426" tIns="40426" rIns="40426" bIns="40426" numCol="1" spcCol="1270" anchor="ctr" anchorCtr="0">
                <a:noAutofit/>
              </a:bodyPr>
              <a:lstStyle/>
              <a:p>
                <a:pPr algn="ctr" defTabSz="400050" fontAlgn="auto">
                  <a:lnSpc>
                    <a:spcPct val="90000"/>
                  </a:lnSpc>
                  <a:spcBef>
                    <a:spcPts val="0"/>
                  </a:spcBef>
                  <a:spcAft>
                    <a:spcPct val="35000"/>
                  </a:spcAft>
                  <a:defRPr/>
                </a:pPr>
                <a:r>
                  <a:rPr lang="en-US" sz="1200" b="0" kern="0" dirty="0" smtClean="0">
                    <a:solidFill>
                      <a:srgbClr val="3C3C3C">
                        <a:hueOff val="0"/>
                        <a:satOff val="0"/>
                        <a:lumOff val="0"/>
                        <a:alphaOff val="0"/>
                      </a:srgbClr>
                    </a:solidFill>
                    <a:latin typeface="Calibri"/>
                    <a:cs typeface="Arial"/>
                  </a:rPr>
                  <a:t>App Group 1</a:t>
                </a:r>
              </a:p>
            </p:txBody>
          </p:sp>
          <p:sp>
            <p:nvSpPr>
              <p:cNvPr id="46" name="TextBox 45"/>
              <p:cNvSpPr txBox="1"/>
              <p:nvPr/>
            </p:nvSpPr>
            <p:spPr bwMode="auto">
              <a:xfrm>
                <a:off x="6429650" y="1114427"/>
                <a:ext cx="227190" cy="414393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vert="vert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82550" algn="ctr"/>
                <a:r>
                  <a:rPr lang="en-US" sz="1400" i="1" dirty="0" smtClean="0">
                    <a:solidFill>
                      <a:schemeClr val="bg2">
                        <a:lumMod val="25000"/>
                      </a:schemeClr>
                    </a:solidFill>
                    <a:latin typeface="Expert Sans Light" pitchFamily="34" charset="0"/>
                  </a:rPr>
                  <a:t>Applications  Maturity </a:t>
                </a: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6614907" y="2763639"/>
                <a:ext cx="1098971" cy="30121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 err="1" smtClean="0">
                    <a:solidFill>
                      <a:srgbClr val="00B0F0"/>
                    </a:solidFill>
                    <a:latin typeface="Expert Sans Light" pitchFamily="34" charset="0"/>
                  </a:rPr>
                  <a:t>Optimised</a:t>
                </a:r>
                <a:endParaRPr lang="en-US" sz="1200" dirty="0">
                  <a:solidFill>
                    <a:srgbClr val="00B0F0"/>
                  </a:solidFill>
                  <a:latin typeface="Expert Sans Light" pitchFamily="34" charset="0"/>
                </a:endParaRPr>
              </a:p>
              <a:p>
                <a:endParaRPr lang="en-US" sz="1200" dirty="0">
                  <a:solidFill>
                    <a:srgbClr val="00B0F0"/>
                  </a:solidFill>
                  <a:latin typeface="Expert Sans Light" pitchFamily="34" charset="0"/>
                </a:endParaRPr>
              </a:p>
              <a:p>
                <a:endParaRPr lang="en-US" sz="1200" dirty="0" smtClean="0">
                  <a:solidFill>
                    <a:srgbClr val="00B0F0"/>
                  </a:solidFill>
                  <a:latin typeface="Expert Sans Light" pitchFamily="34" charset="0"/>
                </a:endParaRPr>
              </a:p>
              <a:p>
                <a:r>
                  <a:rPr lang="en-US" sz="1200" dirty="0" smtClean="0">
                    <a:solidFill>
                      <a:srgbClr val="00B0F0"/>
                    </a:solidFill>
                    <a:latin typeface="Expert Sans Light" pitchFamily="34" charset="0"/>
                  </a:rPr>
                  <a:t>Measured</a:t>
                </a:r>
              </a:p>
              <a:p>
                <a:endParaRPr lang="en-US" sz="1200" dirty="0">
                  <a:solidFill>
                    <a:srgbClr val="00B0F0"/>
                  </a:solidFill>
                  <a:latin typeface="Expert Sans Light" pitchFamily="34" charset="0"/>
                </a:endParaRPr>
              </a:p>
              <a:p>
                <a:endParaRPr lang="en-US" sz="1200" dirty="0" smtClean="0">
                  <a:solidFill>
                    <a:srgbClr val="00B0F0"/>
                  </a:solidFill>
                  <a:latin typeface="Expert Sans Light" pitchFamily="34" charset="0"/>
                </a:endParaRPr>
              </a:p>
              <a:p>
                <a:r>
                  <a:rPr lang="en-US" sz="1200" dirty="0" smtClean="0">
                    <a:solidFill>
                      <a:srgbClr val="00B0F0"/>
                    </a:solidFill>
                    <a:latin typeface="Expert Sans Light" pitchFamily="34" charset="0"/>
                  </a:rPr>
                  <a:t>Consistent</a:t>
                </a:r>
              </a:p>
              <a:p>
                <a:endParaRPr lang="en-US" sz="1200" dirty="0" smtClean="0">
                  <a:solidFill>
                    <a:srgbClr val="00B0F0"/>
                  </a:solidFill>
                  <a:latin typeface="Expert Sans Light" pitchFamily="34" charset="0"/>
                </a:endParaRPr>
              </a:p>
              <a:p>
                <a:endParaRPr lang="en-US" sz="1200" dirty="0" smtClean="0">
                  <a:solidFill>
                    <a:srgbClr val="00B0F0"/>
                  </a:solidFill>
                  <a:latin typeface="Expert Sans Light" pitchFamily="34" charset="0"/>
                </a:endParaRPr>
              </a:p>
              <a:p>
                <a:r>
                  <a:rPr lang="en-US" sz="1200" dirty="0" smtClean="0">
                    <a:solidFill>
                      <a:srgbClr val="00B0F0"/>
                    </a:solidFill>
                    <a:latin typeface="Expert Sans Light" pitchFamily="34" charset="0"/>
                  </a:rPr>
                  <a:t>Repeatable</a:t>
                </a:r>
              </a:p>
              <a:p>
                <a:endParaRPr lang="en-GB" sz="1200" dirty="0" smtClean="0">
                  <a:solidFill>
                    <a:srgbClr val="00B0F0"/>
                  </a:solidFill>
                  <a:latin typeface="Expert Sans Light" pitchFamily="34" charset="0"/>
                </a:endParaRPr>
              </a:p>
              <a:p>
                <a:endParaRPr lang="en-US" sz="1200" dirty="0">
                  <a:solidFill>
                    <a:srgbClr val="00B0F0"/>
                  </a:solidFill>
                  <a:latin typeface="Expert Sans Light" pitchFamily="34" charset="0"/>
                </a:endParaRPr>
              </a:p>
              <a:p>
                <a:r>
                  <a:rPr lang="en-US" sz="1200" dirty="0" smtClean="0">
                    <a:solidFill>
                      <a:srgbClr val="00B0F0"/>
                    </a:solidFill>
                    <a:latin typeface="Expert Sans Light" pitchFamily="34" charset="0"/>
                  </a:rPr>
                  <a:t>Regressive</a:t>
                </a:r>
                <a:endParaRPr lang="en-US" sz="1200" dirty="0">
                  <a:solidFill>
                    <a:srgbClr val="00B0F0"/>
                  </a:solidFill>
                  <a:latin typeface="Expert Sans Light" pitchFamily="34" charset="0"/>
                </a:endParaRPr>
              </a:p>
            </p:txBody>
          </p:sp>
          <p:sp>
            <p:nvSpPr>
              <p:cNvPr id="38" name="Freeform 37"/>
              <p:cNvSpPr/>
              <p:nvPr/>
            </p:nvSpPr>
            <p:spPr>
              <a:xfrm>
                <a:off x="3742012" y="4073734"/>
                <a:ext cx="1236878" cy="438196"/>
              </a:xfrm>
              <a:custGeom>
                <a:avLst/>
                <a:gdLst>
                  <a:gd name="connsiteX0" fmla="*/ 0 w 455391"/>
                  <a:gd name="connsiteY0" fmla="*/ 20951 h 209513"/>
                  <a:gd name="connsiteX1" fmla="*/ 20951 w 455391"/>
                  <a:gd name="connsiteY1" fmla="*/ 0 h 209513"/>
                  <a:gd name="connsiteX2" fmla="*/ 434440 w 455391"/>
                  <a:gd name="connsiteY2" fmla="*/ 0 h 209513"/>
                  <a:gd name="connsiteX3" fmla="*/ 455391 w 455391"/>
                  <a:gd name="connsiteY3" fmla="*/ 20951 h 209513"/>
                  <a:gd name="connsiteX4" fmla="*/ 455391 w 455391"/>
                  <a:gd name="connsiteY4" fmla="*/ 188562 h 209513"/>
                  <a:gd name="connsiteX5" fmla="*/ 434440 w 455391"/>
                  <a:gd name="connsiteY5" fmla="*/ 209513 h 209513"/>
                  <a:gd name="connsiteX6" fmla="*/ 20951 w 455391"/>
                  <a:gd name="connsiteY6" fmla="*/ 209513 h 209513"/>
                  <a:gd name="connsiteX7" fmla="*/ 0 w 455391"/>
                  <a:gd name="connsiteY7" fmla="*/ 188562 h 209513"/>
                  <a:gd name="connsiteX8" fmla="*/ 0 w 455391"/>
                  <a:gd name="connsiteY8" fmla="*/ 20951 h 209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5391" h="209513">
                    <a:moveTo>
                      <a:pt x="0" y="20951"/>
                    </a:moveTo>
                    <a:cubicBezTo>
                      <a:pt x="0" y="9380"/>
                      <a:pt x="9380" y="0"/>
                      <a:pt x="20951" y="0"/>
                    </a:cubicBezTo>
                    <a:lnTo>
                      <a:pt x="434440" y="0"/>
                    </a:lnTo>
                    <a:cubicBezTo>
                      <a:pt x="446011" y="0"/>
                      <a:pt x="455391" y="9380"/>
                      <a:pt x="455391" y="20951"/>
                    </a:cubicBezTo>
                    <a:lnTo>
                      <a:pt x="455391" y="188562"/>
                    </a:lnTo>
                    <a:cubicBezTo>
                      <a:pt x="455391" y="200133"/>
                      <a:pt x="446011" y="209513"/>
                      <a:pt x="434440" y="209513"/>
                    </a:cubicBezTo>
                    <a:lnTo>
                      <a:pt x="20951" y="209513"/>
                    </a:lnTo>
                    <a:cubicBezTo>
                      <a:pt x="9380" y="209513"/>
                      <a:pt x="0" y="200133"/>
                      <a:pt x="0" y="188562"/>
                    </a:cubicBezTo>
                    <a:lnTo>
                      <a:pt x="0" y="20951"/>
                    </a:lnTo>
                    <a:close/>
                  </a:path>
                </a:pathLst>
              </a:custGeom>
              <a:solidFill>
                <a:srgbClr val="ADCDEC">
                  <a:alpha val="30000"/>
                </a:srgbClr>
              </a:solidFill>
              <a:ln>
                <a:noFill/>
              </a:ln>
              <a:effectLst/>
              <a:scene3d>
                <a:camera prst="orthographicFront"/>
                <a:lightRig rig="flat" dir="t"/>
              </a:scene3d>
              <a:sp3d prstMaterial="dkEdge"/>
            </p:spPr>
            <p:txBody>
              <a:bodyPr spcFirstLastPara="0" vert="horz" wrap="square" lIns="41843" tIns="0" rIns="41843" bIns="18288" numCol="1" spcCol="1270" anchor="ctr" anchorCtr="0">
                <a:noAutofit/>
              </a:bodyPr>
              <a:lstStyle/>
              <a:p>
                <a:pPr algn="ctr" defTabSz="400050" fontAlgn="auto">
                  <a:lnSpc>
                    <a:spcPct val="90000"/>
                  </a:lnSpc>
                  <a:spcBef>
                    <a:spcPts val="0"/>
                  </a:spcBef>
                  <a:spcAft>
                    <a:spcPct val="35000"/>
                  </a:spcAft>
                </a:pPr>
                <a:r>
                  <a:rPr lang="en-US" sz="1200" kern="0" dirty="0">
                    <a:solidFill>
                      <a:srgbClr val="3C3C3C">
                        <a:hueOff val="0"/>
                        <a:satOff val="0"/>
                        <a:lumOff val="0"/>
                        <a:alphaOff val="0"/>
                      </a:srgbClr>
                    </a:solidFill>
                    <a:latin typeface="Calibri"/>
                  </a:rPr>
                  <a:t>App Group 2</a:t>
                </a:r>
              </a:p>
            </p:txBody>
          </p:sp>
          <p:sp>
            <p:nvSpPr>
              <p:cNvPr id="37" name="Freeform 36"/>
              <p:cNvSpPr/>
              <p:nvPr/>
            </p:nvSpPr>
            <p:spPr>
              <a:xfrm>
                <a:off x="2336083" y="4073734"/>
                <a:ext cx="1236878" cy="438196"/>
              </a:xfrm>
              <a:custGeom>
                <a:avLst/>
                <a:gdLst>
                  <a:gd name="connsiteX0" fmla="*/ 0 w 455391"/>
                  <a:gd name="connsiteY0" fmla="*/ 20951 h 209513"/>
                  <a:gd name="connsiteX1" fmla="*/ 20951 w 455391"/>
                  <a:gd name="connsiteY1" fmla="*/ 0 h 209513"/>
                  <a:gd name="connsiteX2" fmla="*/ 434440 w 455391"/>
                  <a:gd name="connsiteY2" fmla="*/ 0 h 209513"/>
                  <a:gd name="connsiteX3" fmla="*/ 455391 w 455391"/>
                  <a:gd name="connsiteY3" fmla="*/ 20951 h 209513"/>
                  <a:gd name="connsiteX4" fmla="*/ 455391 w 455391"/>
                  <a:gd name="connsiteY4" fmla="*/ 188562 h 209513"/>
                  <a:gd name="connsiteX5" fmla="*/ 434440 w 455391"/>
                  <a:gd name="connsiteY5" fmla="*/ 209513 h 209513"/>
                  <a:gd name="connsiteX6" fmla="*/ 20951 w 455391"/>
                  <a:gd name="connsiteY6" fmla="*/ 209513 h 209513"/>
                  <a:gd name="connsiteX7" fmla="*/ 0 w 455391"/>
                  <a:gd name="connsiteY7" fmla="*/ 188562 h 209513"/>
                  <a:gd name="connsiteX8" fmla="*/ 0 w 455391"/>
                  <a:gd name="connsiteY8" fmla="*/ 20951 h 209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5391" h="209513">
                    <a:moveTo>
                      <a:pt x="0" y="20951"/>
                    </a:moveTo>
                    <a:cubicBezTo>
                      <a:pt x="0" y="9380"/>
                      <a:pt x="9380" y="0"/>
                      <a:pt x="20951" y="0"/>
                    </a:cubicBezTo>
                    <a:lnTo>
                      <a:pt x="434440" y="0"/>
                    </a:lnTo>
                    <a:cubicBezTo>
                      <a:pt x="446011" y="0"/>
                      <a:pt x="455391" y="9380"/>
                      <a:pt x="455391" y="20951"/>
                    </a:cubicBezTo>
                    <a:lnTo>
                      <a:pt x="455391" y="188562"/>
                    </a:lnTo>
                    <a:cubicBezTo>
                      <a:pt x="455391" y="200133"/>
                      <a:pt x="446011" y="209513"/>
                      <a:pt x="434440" y="209513"/>
                    </a:cubicBezTo>
                    <a:lnTo>
                      <a:pt x="20951" y="209513"/>
                    </a:lnTo>
                    <a:cubicBezTo>
                      <a:pt x="9380" y="209513"/>
                      <a:pt x="0" y="200133"/>
                      <a:pt x="0" y="188562"/>
                    </a:cubicBezTo>
                    <a:lnTo>
                      <a:pt x="0" y="20951"/>
                    </a:lnTo>
                    <a:close/>
                  </a:path>
                </a:pathLst>
              </a:custGeom>
              <a:solidFill>
                <a:srgbClr val="ADCDEC">
                  <a:alpha val="30000"/>
                </a:srgbClr>
              </a:solidFill>
              <a:ln>
                <a:noFill/>
              </a:ln>
              <a:effectLst/>
              <a:scene3d>
                <a:camera prst="orthographicFront"/>
                <a:lightRig rig="flat" dir="t"/>
              </a:scene3d>
              <a:sp3d prstMaterial="dkEdge"/>
            </p:spPr>
            <p:txBody>
              <a:bodyPr spcFirstLastPara="0" vert="horz" wrap="square" lIns="41843" tIns="0" rIns="41843" bIns="18288" numCol="1" spcCol="1270" anchor="ctr" anchorCtr="0">
                <a:noAutofit/>
              </a:bodyPr>
              <a:lstStyle/>
              <a:p>
                <a:pPr algn="ctr" defTabSz="400050" fontAlgn="auto">
                  <a:lnSpc>
                    <a:spcPct val="90000"/>
                  </a:lnSpc>
                  <a:spcBef>
                    <a:spcPts val="0"/>
                  </a:spcBef>
                  <a:spcAft>
                    <a:spcPct val="35000"/>
                  </a:spcAft>
                </a:pPr>
                <a:r>
                  <a:rPr lang="en-US" sz="1200" kern="0" dirty="0">
                    <a:solidFill>
                      <a:srgbClr val="3C3C3C">
                        <a:hueOff val="0"/>
                        <a:satOff val="0"/>
                        <a:lumOff val="0"/>
                        <a:alphaOff val="0"/>
                      </a:srgbClr>
                    </a:solidFill>
                    <a:latin typeface="Calibri"/>
                  </a:rPr>
                  <a:t>App Group 1</a:t>
                </a:r>
              </a:p>
            </p:txBody>
          </p:sp>
        </p:grpSp>
      </p:grpSp>
      <p:sp>
        <p:nvSpPr>
          <p:cNvPr id="6" name="TextBox 5"/>
          <p:cNvSpPr txBox="1"/>
          <p:nvPr/>
        </p:nvSpPr>
        <p:spPr>
          <a:xfrm>
            <a:off x="665816" y="5668492"/>
            <a:ext cx="364521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 i="1" dirty="0" smtClean="0">
                <a:solidFill>
                  <a:srgbClr val="003A63"/>
                </a:solidFill>
              </a:rPr>
              <a:t>Cumulative View of Application On boarding</a:t>
            </a:r>
            <a:endParaRPr lang="en-US" sz="1050" i="1" dirty="0">
              <a:solidFill>
                <a:srgbClr val="003A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27070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89701" y="1569590"/>
            <a:ext cx="9712817" cy="4687913"/>
            <a:chOff x="90152" y="1068942"/>
            <a:chExt cx="9712817" cy="4687913"/>
          </a:xfrm>
        </p:grpSpPr>
        <p:sp>
          <p:nvSpPr>
            <p:cNvPr id="4" name="Rectangle 4"/>
            <p:cNvSpPr/>
            <p:nvPr/>
          </p:nvSpPr>
          <p:spPr>
            <a:xfrm>
              <a:off x="2412966" y="1973311"/>
              <a:ext cx="6315844" cy="234776"/>
            </a:xfrm>
            <a:custGeom>
              <a:avLst/>
              <a:gdLst>
                <a:gd name="connsiteX0" fmla="*/ 0 w 3733800"/>
                <a:gd name="connsiteY0" fmla="*/ 0 h 381000"/>
                <a:gd name="connsiteX1" fmla="*/ 3733800 w 3733800"/>
                <a:gd name="connsiteY1" fmla="*/ 0 h 381000"/>
                <a:gd name="connsiteX2" fmla="*/ 3733800 w 3733800"/>
                <a:gd name="connsiteY2" fmla="*/ 381000 h 381000"/>
                <a:gd name="connsiteX3" fmla="*/ 0 w 3733800"/>
                <a:gd name="connsiteY3" fmla="*/ 381000 h 381000"/>
                <a:gd name="connsiteX4" fmla="*/ 0 w 3733800"/>
                <a:gd name="connsiteY4" fmla="*/ 0 h 381000"/>
                <a:gd name="connsiteX0" fmla="*/ 0 w 3733800"/>
                <a:gd name="connsiteY0" fmla="*/ 0 h 381000"/>
                <a:gd name="connsiteX1" fmla="*/ 3733800 w 3733800"/>
                <a:gd name="connsiteY1" fmla="*/ 0 h 381000"/>
                <a:gd name="connsiteX2" fmla="*/ 3733800 w 3733800"/>
                <a:gd name="connsiteY2" fmla="*/ 381000 h 381000"/>
                <a:gd name="connsiteX3" fmla="*/ 239111 w 3733800"/>
                <a:gd name="connsiteY3" fmla="*/ 374952 h 381000"/>
                <a:gd name="connsiteX4" fmla="*/ 0 w 3733800"/>
                <a:gd name="connsiteY4" fmla="*/ 381000 h 381000"/>
                <a:gd name="connsiteX5" fmla="*/ 0 w 3733800"/>
                <a:gd name="connsiteY5" fmla="*/ 0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33800" h="381000">
                  <a:moveTo>
                    <a:pt x="0" y="0"/>
                  </a:moveTo>
                  <a:lnTo>
                    <a:pt x="3733800" y="0"/>
                  </a:lnTo>
                  <a:lnTo>
                    <a:pt x="3733800" y="381000"/>
                  </a:lnTo>
                  <a:lnTo>
                    <a:pt x="239111" y="374952"/>
                  </a:lnTo>
                  <a:lnTo>
                    <a:pt x="0" y="381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solidFill>
                <a:srgbClr val="1F3B92"/>
              </a:solidFill>
              <a:prstDash val="solid"/>
            </a:ln>
            <a:effectLst/>
          </p:spPr>
          <p:txBody>
            <a:bodyPr lIns="87906" tIns="43953" rIns="87906" bIns="43953"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latform Architecture and Design (e.g. </a:t>
              </a:r>
              <a:r>
                <a:rPr lang="en-US" sz="80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aaS</a:t>
              </a:r>
              <a:r>
                <a:rPr lang="en-US" sz="800" b="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: </a:t>
              </a:r>
              <a:r>
                <a:rPr lang="en-US" sz="800" b="0" kern="0" dirty="0" err="1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ker</a:t>
              </a:r>
              <a:r>
                <a:rPr lang="en-US" sz="800" b="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, Open Shift etc.| </a:t>
              </a:r>
              <a:r>
                <a:rPr lang="en-US" sz="80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Ts</a:t>
              </a:r>
              <a:r>
                <a:rPr lang="en-US" sz="800" b="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: </a:t>
              </a:r>
              <a:r>
                <a:rPr lang="en-US" sz="800" b="0" kern="0" dirty="0" err="1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olio</a:t>
              </a:r>
              <a:r>
                <a:rPr lang="en-US" sz="800" b="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800" b="0" kern="0" dirty="0" err="1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tc</a:t>
              </a:r>
              <a:r>
                <a:rPr lang="en-US" sz="800" b="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| Cloud NPE)</a:t>
              </a:r>
            </a:p>
          </p:txBody>
        </p:sp>
        <p:sp>
          <p:nvSpPr>
            <p:cNvPr id="5" name="Down Arrow 4"/>
            <p:cNvSpPr/>
            <p:nvPr/>
          </p:nvSpPr>
          <p:spPr>
            <a:xfrm>
              <a:off x="8430351" y="1885778"/>
              <a:ext cx="211128" cy="260736"/>
            </a:xfrm>
            <a:prstGeom prst="downArrow">
              <a:avLst/>
            </a:prstGeom>
            <a:solidFill>
              <a:srgbClr val="1F3B92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" name="Down Arrow 5"/>
            <p:cNvSpPr/>
            <p:nvPr/>
          </p:nvSpPr>
          <p:spPr>
            <a:xfrm>
              <a:off x="2660782" y="1885778"/>
              <a:ext cx="211128" cy="260736"/>
            </a:xfrm>
            <a:prstGeom prst="downArrow">
              <a:avLst/>
            </a:prstGeom>
            <a:solidFill>
              <a:srgbClr val="1F3B92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" name="Rectangle 4"/>
            <p:cNvSpPr/>
            <p:nvPr/>
          </p:nvSpPr>
          <p:spPr>
            <a:xfrm>
              <a:off x="2412966" y="1687910"/>
              <a:ext cx="6315844" cy="234776"/>
            </a:xfrm>
            <a:custGeom>
              <a:avLst/>
              <a:gdLst>
                <a:gd name="connsiteX0" fmla="*/ 0 w 3733800"/>
                <a:gd name="connsiteY0" fmla="*/ 0 h 381000"/>
                <a:gd name="connsiteX1" fmla="*/ 3733800 w 3733800"/>
                <a:gd name="connsiteY1" fmla="*/ 0 h 381000"/>
                <a:gd name="connsiteX2" fmla="*/ 3733800 w 3733800"/>
                <a:gd name="connsiteY2" fmla="*/ 381000 h 381000"/>
                <a:gd name="connsiteX3" fmla="*/ 0 w 3733800"/>
                <a:gd name="connsiteY3" fmla="*/ 381000 h 381000"/>
                <a:gd name="connsiteX4" fmla="*/ 0 w 3733800"/>
                <a:gd name="connsiteY4" fmla="*/ 0 h 381000"/>
                <a:gd name="connsiteX0" fmla="*/ 0 w 3733800"/>
                <a:gd name="connsiteY0" fmla="*/ 0 h 381000"/>
                <a:gd name="connsiteX1" fmla="*/ 3733800 w 3733800"/>
                <a:gd name="connsiteY1" fmla="*/ 0 h 381000"/>
                <a:gd name="connsiteX2" fmla="*/ 3733800 w 3733800"/>
                <a:gd name="connsiteY2" fmla="*/ 381000 h 381000"/>
                <a:gd name="connsiteX3" fmla="*/ 239111 w 3733800"/>
                <a:gd name="connsiteY3" fmla="*/ 374952 h 381000"/>
                <a:gd name="connsiteX4" fmla="*/ 0 w 3733800"/>
                <a:gd name="connsiteY4" fmla="*/ 381000 h 381000"/>
                <a:gd name="connsiteX5" fmla="*/ 0 w 3733800"/>
                <a:gd name="connsiteY5" fmla="*/ 0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33800" h="381000">
                  <a:moveTo>
                    <a:pt x="0" y="0"/>
                  </a:moveTo>
                  <a:lnTo>
                    <a:pt x="3733800" y="0"/>
                  </a:lnTo>
                  <a:lnTo>
                    <a:pt x="3733800" y="381000"/>
                  </a:lnTo>
                  <a:lnTo>
                    <a:pt x="239111" y="374952"/>
                  </a:lnTo>
                  <a:lnTo>
                    <a:pt x="0" y="381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solidFill>
                <a:srgbClr val="1F3B92"/>
              </a:solidFill>
              <a:prstDash val="solid"/>
            </a:ln>
            <a:effectLst/>
          </p:spPr>
          <p:txBody>
            <a:bodyPr lIns="87906" tIns="43953" rIns="87906" bIns="43953"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pplication Profiling  </a:t>
              </a:r>
            </a:p>
          </p:txBody>
        </p:sp>
        <p:sp>
          <p:nvSpPr>
            <p:cNvPr id="8" name="Down Arrow 7"/>
            <p:cNvSpPr/>
            <p:nvPr/>
          </p:nvSpPr>
          <p:spPr>
            <a:xfrm>
              <a:off x="8430351" y="1600376"/>
              <a:ext cx="211128" cy="260736"/>
            </a:xfrm>
            <a:prstGeom prst="downArrow">
              <a:avLst/>
            </a:prstGeom>
            <a:solidFill>
              <a:srgbClr val="1F3B92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" name="Bent-Up Arrow 8"/>
            <p:cNvSpPr/>
            <p:nvPr/>
          </p:nvSpPr>
          <p:spPr>
            <a:xfrm rot="5400000" flipV="1">
              <a:off x="6811507" y="4116879"/>
              <a:ext cx="1525852" cy="544641"/>
            </a:xfrm>
            <a:prstGeom prst="bentUpArrow">
              <a:avLst>
                <a:gd name="adj1" fmla="val 28022"/>
                <a:gd name="adj2" fmla="val 27665"/>
                <a:gd name="adj3" fmla="val 29069"/>
              </a:avLst>
            </a:prstGeom>
            <a:solidFill>
              <a:srgbClr val="F37022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87906" tIns="43953" rIns="87906" bIns="43953"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" name="Down Arrow 9"/>
            <p:cNvSpPr/>
            <p:nvPr/>
          </p:nvSpPr>
          <p:spPr>
            <a:xfrm rot="16200000">
              <a:off x="1932079" y="5204380"/>
              <a:ext cx="283835" cy="587849"/>
            </a:xfrm>
            <a:prstGeom prst="downArrow">
              <a:avLst/>
            </a:prstGeom>
            <a:solidFill>
              <a:srgbClr val="ADCDEC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" name="Down Arrow 10"/>
            <p:cNvSpPr/>
            <p:nvPr/>
          </p:nvSpPr>
          <p:spPr>
            <a:xfrm>
              <a:off x="3209192" y="3611762"/>
              <a:ext cx="278042" cy="1589700"/>
            </a:xfrm>
            <a:prstGeom prst="downArrow">
              <a:avLst/>
            </a:prstGeom>
            <a:solidFill>
              <a:srgbClr val="84C488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" name="Down Arrow 11"/>
            <p:cNvSpPr/>
            <p:nvPr/>
          </p:nvSpPr>
          <p:spPr>
            <a:xfrm rot="16200000">
              <a:off x="3910017" y="3384186"/>
              <a:ext cx="220999" cy="1336861"/>
            </a:xfrm>
            <a:prstGeom prst="downArrow">
              <a:avLst/>
            </a:prstGeom>
            <a:solidFill>
              <a:srgbClr val="84C488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384866" y="2253884"/>
              <a:ext cx="2311239" cy="1468831"/>
            </a:xfrm>
            <a:prstGeom prst="rect">
              <a:avLst/>
            </a:prstGeom>
            <a:solidFill>
              <a:srgbClr val="219D4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 List</a:t>
              </a:r>
              <a:br>
                <a:rPr lang="en-US" sz="1000" b="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sz="120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vOps Ready (20%)</a:t>
              </a:r>
            </a:p>
            <a:p>
              <a:pPr fontAlgn="auto">
                <a:spcBef>
                  <a:spcPts val="400"/>
                </a:spcBef>
                <a:spcAft>
                  <a:spcPts val="0"/>
                </a:spcAft>
                <a:defRPr/>
              </a:pPr>
              <a:r>
                <a:rPr lang="en-US" sz="700" b="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riteria:</a:t>
              </a:r>
            </a:p>
            <a:p>
              <a:pPr marL="182880" indent="-91440" fontAlgn="auto">
                <a:spcBef>
                  <a:spcPts val="0"/>
                </a:spcBef>
                <a:spcAft>
                  <a:spcPts val="0"/>
                </a:spcAft>
                <a:buFont typeface="Arial"/>
                <a:buChar char="•"/>
                <a:defRPr/>
              </a:pPr>
              <a:r>
                <a:rPr lang="en-US" sz="700" b="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ech Stack: Java</a:t>
              </a:r>
            </a:p>
            <a:p>
              <a:pPr marL="182880" indent="-91440" fontAlgn="auto">
                <a:spcBef>
                  <a:spcPts val="0"/>
                </a:spcBef>
                <a:spcAft>
                  <a:spcPts val="0"/>
                </a:spcAft>
                <a:buFont typeface="Arial"/>
                <a:buChar char="•"/>
                <a:defRPr/>
              </a:pPr>
              <a:r>
                <a:rPr lang="en-US" sz="700" b="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ployment Method: Package based deploy</a:t>
              </a:r>
            </a:p>
            <a:p>
              <a:pPr fontAlgn="auto">
                <a:spcBef>
                  <a:spcPts val="400"/>
                </a:spcBef>
                <a:spcAft>
                  <a:spcPts val="0"/>
                </a:spcAft>
                <a:defRPr/>
              </a:pPr>
              <a:r>
                <a:rPr lang="en-US" sz="700" b="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xample:</a:t>
              </a:r>
            </a:p>
            <a:p>
              <a:pPr marL="182880" indent="-91440" fontAlgn="auto">
                <a:spcBef>
                  <a:spcPts val="0"/>
                </a:spcBef>
                <a:spcAft>
                  <a:spcPts val="0"/>
                </a:spcAft>
                <a:buFont typeface="Arial"/>
                <a:buChar char="•"/>
                <a:defRPr/>
              </a:pPr>
              <a:r>
                <a:rPr lang="en-US" sz="700" b="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X% of Payments</a:t>
              </a:r>
            </a:p>
            <a:p>
              <a:pPr marL="182880" indent="-91440" fontAlgn="auto">
                <a:spcBef>
                  <a:spcPts val="0"/>
                </a:spcBef>
                <a:spcAft>
                  <a:spcPts val="0"/>
                </a:spcAft>
                <a:buFont typeface="Arial"/>
                <a:buChar char="•"/>
                <a:defRPr/>
              </a:pPr>
              <a:r>
                <a:rPr lang="en-US" sz="700" b="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Y% of Corporate etc.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765233" y="2253884"/>
              <a:ext cx="1955326" cy="1468831"/>
            </a:xfrm>
            <a:prstGeom prst="rect">
              <a:avLst/>
            </a:prstGeom>
            <a:solidFill>
              <a:srgbClr val="F6921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 List</a:t>
              </a:r>
              <a:r>
                <a:rPr lang="en-US" sz="1200" b="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/>
              </a:r>
              <a:br>
                <a:rPr lang="en-US" sz="1200" b="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sz="120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eed Change (30%)</a:t>
              </a:r>
            </a:p>
            <a:p>
              <a:pPr fontAlgn="auto">
                <a:spcBef>
                  <a:spcPts val="400"/>
                </a:spcBef>
                <a:spcAft>
                  <a:spcPts val="0"/>
                </a:spcAft>
                <a:defRPr/>
              </a:pPr>
              <a:r>
                <a:rPr lang="en-US" sz="700" b="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riteria:</a:t>
              </a:r>
            </a:p>
            <a:p>
              <a:pPr marL="182880" indent="-91440" fontAlgn="auto">
                <a:spcBef>
                  <a:spcPts val="0"/>
                </a:spcBef>
                <a:spcAft>
                  <a:spcPts val="0"/>
                </a:spcAft>
                <a:buFont typeface="Arial"/>
                <a:buChar char="•"/>
                <a:defRPr/>
              </a:pPr>
              <a:r>
                <a:rPr lang="en-US" sz="700" b="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ech Stack: Java, .NET, Database</a:t>
              </a:r>
            </a:p>
            <a:p>
              <a:pPr marL="182880" indent="-91440" fontAlgn="auto">
                <a:spcBef>
                  <a:spcPts val="0"/>
                </a:spcBef>
                <a:spcAft>
                  <a:spcPts val="0"/>
                </a:spcAft>
                <a:buFont typeface="Arial"/>
                <a:buChar char="•"/>
                <a:defRPr/>
              </a:pPr>
              <a:r>
                <a:rPr lang="en-US" sz="700" b="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ployment Method: Scripts, Objects, Packages with Custom Integrations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779811" y="2253884"/>
              <a:ext cx="1955326" cy="1468831"/>
            </a:xfrm>
            <a:prstGeom prst="rect">
              <a:avLst/>
            </a:prstGeom>
            <a:solidFill>
              <a:srgbClr val="FC2D0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 List</a:t>
              </a:r>
              <a:r>
                <a:rPr lang="en-US" sz="1200" b="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/>
              </a:r>
              <a:br>
                <a:rPr lang="en-US" sz="1200" b="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sz="120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ot Ready (50%)</a:t>
              </a:r>
            </a:p>
            <a:p>
              <a:pPr fontAlgn="auto">
                <a:spcBef>
                  <a:spcPts val="400"/>
                </a:spcBef>
                <a:spcAft>
                  <a:spcPts val="0"/>
                </a:spcAft>
                <a:defRPr/>
              </a:pPr>
              <a:r>
                <a:rPr lang="en-US" sz="700" b="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riteria:</a:t>
              </a:r>
            </a:p>
            <a:p>
              <a:pPr marL="182880" indent="-91440" fontAlgn="auto">
                <a:spcBef>
                  <a:spcPts val="0"/>
                </a:spcBef>
                <a:spcAft>
                  <a:spcPts val="0"/>
                </a:spcAft>
                <a:buFont typeface="Arial"/>
                <a:buChar char="•"/>
                <a:defRPr/>
              </a:pPr>
              <a:r>
                <a:rPr lang="en-US" sz="700" b="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ech Stack: COTS, Legacy </a:t>
              </a:r>
            </a:p>
            <a:p>
              <a:pPr marL="182880" indent="-91440" fontAlgn="auto">
                <a:spcBef>
                  <a:spcPts val="0"/>
                </a:spcBef>
                <a:spcAft>
                  <a:spcPts val="0"/>
                </a:spcAft>
                <a:buFont typeface="Arial"/>
                <a:buChar char="•"/>
                <a:defRPr/>
              </a:pPr>
              <a:r>
                <a:rPr lang="en-US" sz="700" b="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ployment Method: scripts, objects, packages with custom integrations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8822771" y="1442915"/>
              <a:ext cx="979747" cy="3910651"/>
            </a:xfrm>
            <a:prstGeom prst="rect">
              <a:avLst/>
            </a:prstGeom>
            <a:solidFill>
              <a:srgbClr val="ADCDEC"/>
            </a:solidFill>
            <a:ln w="12700" cap="flat" cmpd="sng" algn="ctr">
              <a:solidFill>
                <a:srgbClr val="1F3B9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kern="0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uilds: </a:t>
              </a:r>
              <a:r>
                <a:rPr lang="en-US" sz="800" b="0" kern="0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ntinuous</a:t>
              </a: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00" b="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kern="0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vironments: </a:t>
              </a:r>
              <a:r>
                <a:rPr lang="en-US" sz="800" b="0" kern="0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n Demand</a:t>
              </a: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00" b="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kern="0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utomation Testing</a:t>
              </a:r>
              <a:r>
                <a:rPr lang="en-US" sz="90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:</a:t>
              </a:r>
              <a:r>
                <a:rPr lang="en-US" sz="800" b="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/>
              </a:r>
              <a:br>
                <a:rPr lang="en-US" sz="800" b="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sz="800" b="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85</a:t>
              </a:r>
              <a:r>
                <a:rPr lang="en-US" sz="800" b="0" kern="0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% automation coverage</a:t>
              </a: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00" b="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kern="0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lease: </a:t>
              </a:r>
              <a:r>
                <a:rPr lang="en-US" sz="90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/>
              </a:r>
              <a:br>
                <a:rPr lang="en-US" sz="90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sz="800" b="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uto</a:t>
              </a:r>
              <a:r>
                <a:rPr lang="en-US" sz="800" b="0" kern="0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-deployments to CIT, ST. 1-click to E2E SIT, UAT, NFT, OAT</a:t>
              </a: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00" b="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kern="0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Validation: </a:t>
              </a:r>
              <a:r>
                <a:rPr lang="en-US" sz="90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/>
              </a:r>
              <a:br>
                <a:rPr lang="en-US" sz="90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sz="800" b="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0</a:t>
              </a:r>
              <a:r>
                <a:rPr lang="en-US" sz="800" b="0" kern="0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% automatic</a:t>
              </a: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00" b="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kern="0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ogging/Monitoring: </a:t>
              </a:r>
              <a:r>
                <a:rPr lang="en-US" sz="800" b="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/>
              </a:r>
              <a:br>
                <a:rPr lang="en-US" sz="800" b="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sz="800" b="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al </a:t>
              </a:r>
              <a:r>
                <a:rPr lang="en-US" sz="800" b="0" kern="0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ime ELK based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8823222" y="1074707"/>
              <a:ext cx="979747" cy="358471"/>
            </a:xfrm>
            <a:prstGeom prst="rect">
              <a:avLst/>
            </a:prstGeom>
            <a:solidFill>
              <a:srgbClr val="1F3B92"/>
            </a:solidFill>
            <a:ln w="12700" cap="flat" cmpd="sng" algn="ctr">
              <a:solidFill>
                <a:srgbClr val="1F3B9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ARGET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90152" y="1477298"/>
              <a:ext cx="1888092" cy="2767010"/>
            </a:xfrm>
            <a:prstGeom prst="rect">
              <a:avLst/>
            </a:prstGeom>
            <a:noFill/>
            <a:ln w="12700" cap="flat" cmpd="sng" algn="ctr">
              <a:solidFill>
                <a:srgbClr val="1F3B9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394234" y="5240820"/>
              <a:ext cx="6334962" cy="50922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1F3B9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87906" tIns="43953" rIns="87906" bIns="4395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91081" y="4533117"/>
              <a:ext cx="1836164" cy="1154148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1F3B9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87906" tIns="43953" rIns="87906" bIns="4395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kern="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2403964" y="4314621"/>
              <a:ext cx="2284984" cy="398168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solidFill>
                <a:srgbClr val="219D44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0" kern="0" dirty="0" smtClean="0">
                  <a:solidFill>
                    <a:srgbClr val="219D44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ransform &amp; Align Process</a:t>
              </a:r>
            </a:p>
          </p:txBody>
        </p:sp>
        <p:sp>
          <p:nvSpPr>
            <p:cNvPr id="22" name="Down Arrow 21"/>
            <p:cNvSpPr/>
            <p:nvPr/>
          </p:nvSpPr>
          <p:spPr>
            <a:xfrm>
              <a:off x="6378807" y="5163016"/>
              <a:ext cx="244936" cy="254226"/>
            </a:xfrm>
            <a:prstGeom prst="downArrow">
              <a:avLst/>
            </a:prstGeom>
            <a:solidFill>
              <a:srgbClr val="1F3B92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Down Arrow 22"/>
            <p:cNvSpPr/>
            <p:nvPr/>
          </p:nvSpPr>
          <p:spPr>
            <a:xfrm rot="16200000">
              <a:off x="1999179" y="1804951"/>
              <a:ext cx="315289" cy="252887"/>
            </a:xfrm>
            <a:prstGeom prst="downArrow">
              <a:avLst/>
            </a:prstGeom>
            <a:solidFill>
              <a:srgbClr val="ADCDEC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4136344" y="2473802"/>
              <a:ext cx="566271" cy="264165"/>
            </a:xfrm>
            <a:prstGeom prst="rect">
              <a:avLst/>
            </a:prstGeom>
            <a:noFill/>
          </p:spPr>
          <p:txBody>
            <a:bodyPr wrap="none" lIns="87906" tIns="43953" rIns="87906" bIns="43953" rtlCol="0">
              <a:spAutoFit/>
            </a:bodyPr>
            <a:lstStyle/>
            <a:p>
              <a:pPr defTabSz="34286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dirty="0">
                  <a:solidFill>
                    <a:prstClr val="white">
                      <a:alpha val="70000"/>
                    </a:prst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-9 mo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8041200" y="2454118"/>
              <a:ext cx="626370" cy="227264"/>
            </a:xfrm>
            <a:prstGeom prst="rect">
              <a:avLst/>
            </a:prstGeom>
            <a:noFill/>
          </p:spPr>
          <p:txBody>
            <a:bodyPr wrap="none" lIns="87906" tIns="43953" rIns="87906" bIns="43953" rtlCol="0">
              <a:spAutoFit/>
            </a:bodyPr>
            <a:lstStyle/>
            <a:p>
              <a:pPr defTabSz="34286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dirty="0" smtClean="0">
                  <a:solidFill>
                    <a:prstClr val="white">
                      <a:alpha val="70000"/>
                    </a:prst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2-18 </a:t>
              </a:r>
              <a:r>
                <a:rPr lang="en-US" sz="900" dirty="0">
                  <a:solidFill>
                    <a:prstClr val="white">
                      <a:alpha val="70000"/>
                    </a:prst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o</a:t>
              </a:r>
            </a:p>
          </p:txBody>
        </p:sp>
        <p:sp>
          <p:nvSpPr>
            <p:cNvPr id="26" name="Down Arrow 25"/>
            <p:cNvSpPr/>
            <p:nvPr/>
          </p:nvSpPr>
          <p:spPr>
            <a:xfrm>
              <a:off x="7659499" y="2237735"/>
              <a:ext cx="195950" cy="178401"/>
            </a:xfrm>
            <a:prstGeom prst="downArrow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" name="Down Arrow 26"/>
            <p:cNvSpPr/>
            <p:nvPr/>
          </p:nvSpPr>
          <p:spPr>
            <a:xfrm>
              <a:off x="3442511" y="2241997"/>
              <a:ext cx="195950" cy="178401"/>
            </a:xfrm>
            <a:prstGeom prst="downArrow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8" name="Down Arrow 27"/>
            <p:cNvSpPr/>
            <p:nvPr/>
          </p:nvSpPr>
          <p:spPr>
            <a:xfrm>
              <a:off x="5644921" y="2243157"/>
              <a:ext cx="195950" cy="178401"/>
            </a:xfrm>
            <a:prstGeom prst="downArrow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" name="Bent-Up Arrow 28"/>
            <p:cNvSpPr/>
            <p:nvPr/>
          </p:nvSpPr>
          <p:spPr>
            <a:xfrm rot="16200000" flipH="1" flipV="1">
              <a:off x="4733480" y="4171596"/>
              <a:ext cx="1525851" cy="408179"/>
            </a:xfrm>
            <a:prstGeom prst="bentUpArrow">
              <a:avLst>
                <a:gd name="adj1" fmla="val 35686"/>
                <a:gd name="adj2" fmla="val 33031"/>
                <a:gd name="adj3" fmla="val 34178"/>
              </a:avLst>
            </a:prstGeom>
            <a:solidFill>
              <a:srgbClr val="F6921E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87906" tIns="43953" rIns="87906" bIns="43953"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1401496" y="4271369"/>
              <a:ext cx="630983" cy="264165"/>
            </a:xfrm>
            <a:prstGeom prst="rect">
              <a:avLst/>
            </a:prstGeom>
            <a:noFill/>
          </p:spPr>
          <p:txBody>
            <a:bodyPr wrap="none" lIns="87906" tIns="43953" rIns="87906" bIns="43953" rtlCol="0">
              <a:spAutoFit/>
            </a:bodyPr>
            <a:lstStyle/>
            <a:p>
              <a:pPr defTabSz="34286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dirty="0">
                  <a:solidFill>
                    <a:srgbClr val="F3702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9-12 mo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1444469" y="1220528"/>
              <a:ext cx="566271" cy="264165"/>
            </a:xfrm>
            <a:prstGeom prst="rect">
              <a:avLst/>
            </a:prstGeom>
            <a:noFill/>
          </p:spPr>
          <p:txBody>
            <a:bodyPr wrap="none" lIns="87906" tIns="43953" rIns="87906" bIns="43953" rtlCol="0">
              <a:spAutoFit/>
            </a:bodyPr>
            <a:lstStyle/>
            <a:p>
              <a:pPr algn="r" defTabSz="34286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dirty="0">
                  <a:solidFill>
                    <a:srgbClr val="F3702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-3 mo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2866629" y="4013287"/>
              <a:ext cx="441605" cy="282053"/>
            </a:xfrm>
            <a:prstGeom prst="rect">
              <a:avLst/>
            </a:prstGeom>
            <a:noFill/>
          </p:spPr>
          <p:txBody>
            <a:bodyPr wrap="none" lIns="87906" tIns="43953" rIns="87906" bIns="43953" rtlCol="0">
              <a:spAutoFit/>
            </a:bodyPr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219D44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90%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381478" y="3724124"/>
              <a:ext cx="1243058" cy="282053"/>
            </a:xfrm>
            <a:prstGeom prst="rect">
              <a:avLst/>
            </a:prstGeom>
            <a:noFill/>
          </p:spPr>
          <p:txBody>
            <a:bodyPr wrap="none" lIns="87906" tIns="43953" rIns="87906" bIns="43953" rtlCol="0">
              <a:spAutoFit/>
            </a:bodyPr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219D44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% Need Change</a:t>
              </a: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8823222" y="5346682"/>
              <a:ext cx="979747" cy="392316"/>
            </a:xfrm>
            <a:prstGeom prst="rect">
              <a:avLst/>
            </a:prstGeom>
            <a:solidFill>
              <a:srgbClr val="1F3B92"/>
            </a:solidFill>
            <a:ln w="12700" cap="flat" cmpd="sng" algn="ctr">
              <a:solidFill>
                <a:srgbClr val="1F3B9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 YEAR JOURNEY</a:t>
              </a: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7467763" y="5649171"/>
              <a:ext cx="1249010" cy="107684"/>
              <a:chOff x="3632200" y="4781550"/>
              <a:chExt cx="2057731" cy="168842"/>
            </a:xfrm>
            <a:solidFill>
              <a:srgbClr val="1F3B92"/>
            </a:solidFill>
          </p:grpSpPr>
          <p:sp>
            <p:nvSpPr>
              <p:cNvPr id="64" name="Freeform 63"/>
              <p:cNvSpPr/>
              <p:nvPr/>
            </p:nvSpPr>
            <p:spPr>
              <a:xfrm rot="60000">
                <a:off x="5105400" y="4781550"/>
                <a:ext cx="584531" cy="168842"/>
              </a:xfrm>
              <a:custGeom>
                <a:avLst/>
                <a:gdLst>
                  <a:gd name="connsiteX0" fmla="*/ 0 w 603504"/>
                  <a:gd name="connsiteY0" fmla="*/ 201185 h 201185"/>
                  <a:gd name="connsiteX1" fmla="*/ 256032 w 603504"/>
                  <a:gd name="connsiteY1" fmla="*/ 17 h 201185"/>
                  <a:gd name="connsiteX2" fmla="*/ 603504 w 603504"/>
                  <a:gd name="connsiteY2" fmla="*/ 192041 h 201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03504" h="201185">
                    <a:moveTo>
                      <a:pt x="0" y="201185"/>
                    </a:moveTo>
                    <a:cubicBezTo>
                      <a:pt x="77724" y="101363"/>
                      <a:pt x="155448" y="1541"/>
                      <a:pt x="256032" y="17"/>
                    </a:cubicBezTo>
                    <a:cubicBezTo>
                      <a:pt x="356616" y="-1507"/>
                      <a:pt x="480060" y="95267"/>
                      <a:pt x="603504" y="192041"/>
                    </a:cubicBezTo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42866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" b="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5" name="Freeform 64"/>
              <p:cNvSpPr/>
              <p:nvPr/>
            </p:nvSpPr>
            <p:spPr>
              <a:xfrm rot="60000">
                <a:off x="4622800" y="4781550"/>
                <a:ext cx="584531" cy="168842"/>
              </a:xfrm>
              <a:custGeom>
                <a:avLst/>
                <a:gdLst>
                  <a:gd name="connsiteX0" fmla="*/ 0 w 603504"/>
                  <a:gd name="connsiteY0" fmla="*/ 201185 h 201185"/>
                  <a:gd name="connsiteX1" fmla="*/ 256032 w 603504"/>
                  <a:gd name="connsiteY1" fmla="*/ 17 h 201185"/>
                  <a:gd name="connsiteX2" fmla="*/ 603504 w 603504"/>
                  <a:gd name="connsiteY2" fmla="*/ 192041 h 201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03504" h="201185">
                    <a:moveTo>
                      <a:pt x="0" y="201185"/>
                    </a:moveTo>
                    <a:cubicBezTo>
                      <a:pt x="77724" y="101363"/>
                      <a:pt x="155448" y="1541"/>
                      <a:pt x="256032" y="17"/>
                    </a:cubicBezTo>
                    <a:cubicBezTo>
                      <a:pt x="356616" y="-1507"/>
                      <a:pt x="480060" y="95267"/>
                      <a:pt x="603504" y="192041"/>
                    </a:cubicBezTo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42866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" b="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6" name="Freeform 65"/>
              <p:cNvSpPr/>
              <p:nvPr/>
            </p:nvSpPr>
            <p:spPr>
              <a:xfrm rot="60000">
                <a:off x="4114800" y="4781550"/>
                <a:ext cx="584531" cy="168842"/>
              </a:xfrm>
              <a:custGeom>
                <a:avLst/>
                <a:gdLst>
                  <a:gd name="connsiteX0" fmla="*/ 0 w 603504"/>
                  <a:gd name="connsiteY0" fmla="*/ 201185 h 201185"/>
                  <a:gd name="connsiteX1" fmla="*/ 256032 w 603504"/>
                  <a:gd name="connsiteY1" fmla="*/ 17 h 201185"/>
                  <a:gd name="connsiteX2" fmla="*/ 603504 w 603504"/>
                  <a:gd name="connsiteY2" fmla="*/ 192041 h 201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03504" h="201185">
                    <a:moveTo>
                      <a:pt x="0" y="201185"/>
                    </a:moveTo>
                    <a:cubicBezTo>
                      <a:pt x="77724" y="101363"/>
                      <a:pt x="155448" y="1541"/>
                      <a:pt x="256032" y="17"/>
                    </a:cubicBezTo>
                    <a:cubicBezTo>
                      <a:pt x="356616" y="-1507"/>
                      <a:pt x="480060" y="95267"/>
                      <a:pt x="603504" y="192041"/>
                    </a:cubicBezTo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42866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" b="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7" name="Freeform 66"/>
              <p:cNvSpPr/>
              <p:nvPr/>
            </p:nvSpPr>
            <p:spPr>
              <a:xfrm rot="60000">
                <a:off x="3632200" y="4781550"/>
                <a:ext cx="584531" cy="168842"/>
              </a:xfrm>
              <a:custGeom>
                <a:avLst/>
                <a:gdLst>
                  <a:gd name="connsiteX0" fmla="*/ 0 w 603504"/>
                  <a:gd name="connsiteY0" fmla="*/ 201185 h 201185"/>
                  <a:gd name="connsiteX1" fmla="*/ 256032 w 603504"/>
                  <a:gd name="connsiteY1" fmla="*/ 17 h 201185"/>
                  <a:gd name="connsiteX2" fmla="*/ 603504 w 603504"/>
                  <a:gd name="connsiteY2" fmla="*/ 192041 h 201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03504" h="201185">
                    <a:moveTo>
                      <a:pt x="0" y="201185"/>
                    </a:moveTo>
                    <a:cubicBezTo>
                      <a:pt x="77724" y="101363"/>
                      <a:pt x="155448" y="1541"/>
                      <a:pt x="256032" y="17"/>
                    </a:cubicBezTo>
                    <a:cubicBezTo>
                      <a:pt x="356616" y="-1507"/>
                      <a:pt x="480060" y="95267"/>
                      <a:pt x="603504" y="192041"/>
                    </a:cubicBezTo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42866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" b="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36" name="Rectangle 35"/>
            <p:cNvSpPr/>
            <p:nvPr/>
          </p:nvSpPr>
          <p:spPr>
            <a:xfrm>
              <a:off x="99515" y="4560184"/>
              <a:ext cx="1835775" cy="2862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34286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vOps Platform Build Out</a:t>
              </a: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221277" y="4906773"/>
              <a:ext cx="1620352" cy="638859"/>
              <a:chOff x="304797" y="4131459"/>
              <a:chExt cx="1667935" cy="549617"/>
            </a:xfrm>
          </p:grpSpPr>
          <p:sp>
            <p:nvSpPr>
              <p:cNvPr id="61" name="Freeform 60"/>
              <p:cNvSpPr/>
              <p:nvPr/>
            </p:nvSpPr>
            <p:spPr>
              <a:xfrm>
                <a:off x="304797" y="4131459"/>
                <a:ext cx="1667935" cy="161377"/>
              </a:xfrm>
              <a:custGeom>
                <a:avLst/>
                <a:gdLst>
                  <a:gd name="connsiteX0" fmla="*/ 0 w 1521438"/>
                  <a:gd name="connsiteY0" fmla="*/ 26897 h 161377"/>
                  <a:gd name="connsiteX1" fmla="*/ 26897 w 1521438"/>
                  <a:gd name="connsiteY1" fmla="*/ 0 h 161377"/>
                  <a:gd name="connsiteX2" fmla="*/ 1494541 w 1521438"/>
                  <a:gd name="connsiteY2" fmla="*/ 0 h 161377"/>
                  <a:gd name="connsiteX3" fmla="*/ 1521438 w 1521438"/>
                  <a:gd name="connsiteY3" fmla="*/ 26897 h 161377"/>
                  <a:gd name="connsiteX4" fmla="*/ 1521438 w 1521438"/>
                  <a:gd name="connsiteY4" fmla="*/ 134480 h 161377"/>
                  <a:gd name="connsiteX5" fmla="*/ 1494541 w 1521438"/>
                  <a:gd name="connsiteY5" fmla="*/ 161377 h 161377"/>
                  <a:gd name="connsiteX6" fmla="*/ 26897 w 1521438"/>
                  <a:gd name="connsiteY6" fmla="*/ 161377 h 161377"/>
                  <a:gd name="connsiteX7" fmla="*/ 0 w 1521438"/>
                  <a:gd name="connsiteY7" fmla="*/ 134480 h 161377"/>
                  <a:gd name="connsiteX8" fmla="*/ 0 w 1521438"/>
                  <a:gd name="connsiteY8" fmla="*/ 26897 h 161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1438" h="161377">
                    <a:moveTo>
                      <a:pt x="0" y="26897"/>
                    </a:moveTo>
                    <a:cubicBezTo>
                      <a:pt x="0" y="12042"/>
                      <a:pt x="12042" y="0"/>
                      <a:pt x="26897" y="0"/>
                    </a:cubicBezTo>
                    <a:lnTo>
                      <a:pt x="1494541" y="0"/>
                    </a:lnTo>
                    <a:cubicBezTo>
                      <a:pt x="1509396" y="0"/>
                      <a:pt x="1521438" y="12042"/>
                      <a:pt x="1521438" y="26897"/>
                    </a:cubicBezTo>
                    <a:lnTo>
                      <a:pt x="1521438" y="134480"/>
                    </a:lnTo>
                    <a:cubicBezTo>
                      <a:pt x="1521438" y="149335"/>
                      <a:pt x="1509396" y="161377"/>
                      <a:pt x="1494541" y="161377"/>
                    </a:cubicBezTo>
                    <a:lnTo>
                      <a:pt x="26897" y="161377"/>
                    </a:lnTo>
                    <a:cubicBezTo>
                      <a:pt x="12042" y="161377"/>
                      <a:pt x="0" y="149335"/>
                      <a:pt x="0" y="134480"/>
                    </a:cubicBezTo>
                    <a:lnTo>
                      <a:pt x="0" y="26897"/>
                    </a:lnTo>
                    <a:close/>
                  </a:path>
                </a:pathLst>
              </a:custGeom>
              <a:solidFill>
                <a:srgbClr val="1F3B92"/>
              </a:solidFill>
              <a:ln>
                <a:noFill/>
              </a:ln>
              <a:effectLst/>
              <a:scene3d>
                <a:camera prst="orthographicFront"/>
                <a:lightRig rig="flat" dir="t"/>
              </a:scene3d>
              <a:sp3d prstMaterial="plastic"/>
            </p:spPr>
            <p:txBody>
              <a:bodyPr spcFirstLastPara="0" vert="horz" wrap="square" lIns="38358" tIns="0" rIns="38358" bIns="18288" numCol="1" spcCol="1270" anchor="ctr" anchorCtr="0">
                <a:noAutofit/>
              </a:bodyPr>
              <a:lstStyle/>
              <a:p>
                <a:pPr algn="ctr" defTabSz="355600" fontAlgn="auto">
                  <a:lnSpc>
                    <a:spcPct val="90000"/>
                  </a:lnSpc>
                  <a:spcBef>
                    <a:spcPts val="0"/>
                  </a:spcBef>
                  <a:spcAft>
                    <a:spcPct val="35000"/>
                  </a:spcAft>
                  <a:defRPr/>
                </a:pPr>
                <a:r>
                  <a:rPr lang="en-US" sz="800" b="0" kern="0" dirty="0" smtClean="0">
                    <a:ln/>
                    <a:solidFill>
                      <a:prstClr val="white"/>
                    </a:solidFill>
                    <a:latin typeface="Calibri"/>
                    <a:cs typeface="Arial"/>
                  </a:rPr>
                  <a:t>Base </a:t>
                </a:r>
                <a:r>
                  <a:rPr lang="en-US" sz="800" b="0" kern="0" dirty="0" err="1" smtClean="0">
                    <a:ln/>
                    <a:solidFill>
                      <a:prstClr val="white"/>
                    </a:solidFill>
                    <a:latin typeface="Calibri"/>
                    <a:cs typeface="Arial"/>
                  </a:rPr>
                  <a:t>Impl</a:t>
                </a:r>
                <a:endParaRPr lang="en-US" sz="800" b="0" kern="0" dirty="0" smtClean="0">
                  <a:ln/>
                  <a:solidFill>
                    <a:prstClr val="white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62" name="Freeform 61"/>
              <p:cNvSpPr/>
              <p:nvPr/>
            </p:nvSpPr>
            <p:spPr>
              <a:xfrm>
                <a:off x="304797" y="4325579"/>
                <a:ext cx="1667935" cy="161377"/>
              </a:xfrm>
              <a:custGeom>
                <a:avLst/>
                <a:gdLst>
                  <a:gd name="connsiteX0" fmla="*/ 0 w 1521438"/>
                  <a:gd name="connsiteY0" fmla="*/ 26897 h 161377"/>
                  <a:gd name="connsiteX1" fmla="*/ 26897 w 1521438"/>
                  <a:gd name="connsiteY1" fmla="*/ 0 h 161377"/>
                  <a:gd name="connsiteX2" fmla="*/ 1494541 w 1521438"/>
                  <a:gd name="connsiteY2" fmla="*/ 0 h 161377"/>
                  <a:gd name="connsiteX3" fmla="*/ 1521438 w 1521438"/>
                  <a:gd name="connsiteY3" fmla="*/ 26897 h 161377"/>
                  <a:gd name="connsiteX4" fmla="*/ 1521438 w 1521438"/>
                  <a:gd name="connsiteY4" fmla="*/ 134480 h 161377"/>
                  <a:gd name="connsiteX5" fmla="*/ 1494541 w 1521438"/>
                  <a:gd name="connsiteY5" fmla="*/ 161377 h 161377"/>
                  <a:gd name="connsiteX6" fmla="*/ 26897 w 1521438"/>
                  <a:gd name="connsiteY6" fmla="*/ 161377 h 161377"/>
                  <a:gd name="connsiteX7" fmla="*/ 0 w 1521438"/>
                  <a:gd name="connsiteY7" fmla="*/ 134480 h 161377"/>
                  <a:gd name="connsiteX8" fmla="*/ 0 w 1521438"/>
                  <a:gd name="connsiteY8" fmla="*/ 26897 h 161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1438" h="161377">
                    <a:moveTo>
                      <a:pt x="0" y="26897"/>
                    </a:moveTo>
                    <a:cubicBezTo>
                      <a:pt x="0" y="12042"/>
                      <a:pt x="12042" y="0"/>
                      <a:pt x="26897" y="0"/>
                    </a:cubicBezTo>
                    <a:lnTo>
                      <a:pt x="1494541" y="0"/>
                    </a:lnTo>
                    <a:cubicBezTo>
                      <a:pt x="1509396" y="0"/>
                      <a:pt x="1521438" y="12042"/>
                      <a:pt x="1521438" y="26897"/>
                    </a:cubicBezTo>
                    <a:lnTo>
                      <a:pt x="1521438" y="134480"/>
                    </a:lnTo>
                    <a:cubicBezTo>
                      <a:pt x="1521438" y="149335"/>
                      <a:pt x="1509396" y="161377"/>
                      <a:pt x="1494541" y="161377"/>
                    </a:cubicBezTo>
                    <a:lnTo>
                      <a:pt x="26897" y="161377"/>
                    </a:lnTo>
                    <a:cubicBezTo>
                      <a:pt x="12042" y="161377"/>
                      <a:pt x="0" y="149335"/>
                      <a:pt x="0" y="134480"/>
                    </a:cubicBezTo>
                    <a:lnTo>
                      <a:pt x="0" y="26897"/>
                    </a:lnTo>
                    <a:close/>
                  </a:path>
                </a:pathLst>
              </a:custGeom>
              <a:solidFill>
                <a:srgbClr val="1F3B92"/>
              </a:solidFill>
              <a:ln>
                <a:noFill/>
              </a:ln>
              <a:effectLst/>
              <a:scene3d>
                <a:camera prst="orthographicFront"/>
                <a:lightRig rig="flat" dir="t"/>
              </a:scene3d>
              <a:sp3d prstMaterial="plastic"/>
            </p:spPr>
            <p:txBody>
              <a:bodyPr spcFirstLastPara="0" vert="horz" wrap="square" lIns="38358" tIns="0" rIns="38358" bIns="18288" numCol="1" spcCol="1270" anchor="ctr" anchorCtr="0">
                <a:noAutofit/>
              </a:bodyPr>
              <a:lstStyle/>
              <a:p>
                <a:pPr algn="ctr" defTabSz="355600" fontAlgn="auto">
                  <a:lnSpc>
                    <a:spcPct val="90000"/>
                  </a:lnSpc>
                  <a:spcBef>
                    <a:spcPts val="0"/>
                  </a:spcBef>
                  <a:spcAft>
                    <a:spcPct val="35000"/>
                  </a:spcAft>
                  <a:defRPr/>
                </a:pPr>
                <a:r>
                  <a:rPr lang="en-US" sz="800" b="0" kern="0" dirty="0" smtClean="0">
                    <a:ln/>
                    <a:solidFill>
                      <a:prstClr val="white"/>
                    </a:solidFill>
                    <a:latin typeface="Calibri"/>
                    <a:cs typeface="Arial"/>
                  </a:rPr>
                  <a:t>Customization</a:t>
                </a:r>
              </a:p>
            </p:txBody>
          </p:sp>
          <p:sp>
            <p:nvSpPr>
              <p:cNvPr id="63" name="Freeform 62"/>
              <p:cNvSpPr/>
              <p:nvPr/>
            </p:nvSpPr>
            <p:spPr>
              <a:xfrm>
                <a:off x="304797" y="4519699"/>
                <a:ext cx="1667935" cy="161377"/>
              </a:xfrm>
              <a:custGeom>
                <a:avLst/>
                <a:gdLst>
                  <a:gd name="connsiteX0" fmla="*/ 0 w 1521438"/>
                  <a:gd name="connsiteY0" fmla="*/ 26897 h 161377"/>
                  <a:gd name="connsiteX1" fmla="*/ 26897 w 1521438"/>
                  <a:gd name="connsiteY1" fmla="*/ 0 h 161377"/>
                  <a:gd name="connsiteX2" fmla="*/ 1494541 w 1521438"/>
                  <a:gd name="connsiteY2" fmla="*/ 0 h 161377"/>
                  <a:gd name="connsiteX3" fmla="*/ 1521438 w 1521438"/>
                  <a:gd name="connsiteY3" fmla="*/ 26897 h 161377"/>
                  <a:gd name="connsiteX4" fmla="*/ 1521438 w 1521438"/>
                  <a:gd name="connsiteY4" fmla="*/ 134480 h 161377"/>
                  <a:gd name="connsiteX5" fmla="*/ 1494541 w 1521438"/>
                  <a:gd name="connsiteY5" fmla="*/ 161377 h 161377"/>
                  <a:gd name="connsiteX6" fmla="*/ 26897 w 1521438"/>
                  <a:gd name="connsiteY6" fmla="*/ 161377 h 161377"/>
                  <a:gd name="connsiteX7" fmla="*/ 0 w 1521438"/>
                  <a:gd name="connsiteY7" fmla="*/ 134480 h 161377"/>
                  <a:gd name="connsiteX8" fmla="*/ 0 w 1521438"/>
                  <a:gd name="connsiteY8" fmla="*/ 26897 h 161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1438" h="161377">
                    <a:moveTo>
                      <a:pt x="0" y="26897"/>
                    </a:moveTo>
                    <a:cubicBezTo>
                      <a:pt x="0" y="12042"/>
                      <a:pt x="12042" y="0"/>
                      <a:pt x="26897" y="0"/>
                    </a:cubicBezTo>
                    <a:lnTo>
                      <a:pt x="1494541" y="0"/>
                    </a:lnTo>
                    <a:cubicBezTo>
                      <a:pt x="1509396" y="0"/>
                      <a:pt x="1521438" y="12042"/>
                      <a:pt x="1521438" y="26897"/>
                    </a:cubicBezTo>
                    <a:lnTo>
                      <a:pt x="1521438" y="134480"/>
                    </a:lnTo>
                    <a:cubicBezTo>
                      <a:pt x="1521438" y="149335"/>
                      <a:pt x="1509396" y="161377"/>
                      <a:pt x="1494541" y="161377"/>
                    </a:cubicBezTo>
                    <a:lnTo>
                      <a:pt x="26897" y="161377"/>
                    </a:lnTo>
                    <a:cubicBezTo>
                      <a:pt x="12042" y="161377"/>
                      <a:pt x="0" y="149335"/>
                      <a:pt x="0" y="134480"/>
                    </a:cubicBezTo>
                    <a:lnTo>
                      <a:pt x="0" y="26897"/>
                    </a:lnTo>
                    <a:close/>
                  </a:path>
                </a:pathLst>
              </a:custGeom>
              <a:solidFill>
                <a:srgbClr val="1F3B92"/>
              </a:solidFill>
              <a:ln>
                <a:noFill/>
              </a:ln>
              <a:effectLst/>
              <a:scene3d>
                <a:camera prst="orthographicFront"/>
                <a:lightRig rig="flat" dir="t"/>
              </a:scene3d>
              <a:sp3d prstMaterial="plastic"/>
            </p:spPr>
            <p:txBody>
              <a:bodyPr spcFirstLastPara="0" vert="horz" wrap="square" lIns="38358" tIns="0" rIns="38358" bIns="18288" numCol="1" spcCol="1270" anchor="ctr" anchorCtr="0">
                <a:noAutofit/>
              </a:bodyPr>
              <a:lstStyle/>
              <a:p>
                <a:pPr algn="ctr" defTabSz="355600" fontAlgn="auto">
                  <a:lnSpc>
                    <a:spcPct val="90000"/>
                  </a:lnSpc>
                  <a:spcBef>
                    <a:spcPts val="0"/>
                  </a:spcBef>
                  <a:spcAft>
                    <a:spcPct val="35000"/>
                  </a:spcAft>
                  <a:defRPr/>
                </a:pPr>
                <a:r>
                  <a:rPr lang="en-US" sz="800" b="0" kern="0" dirty="0" smtClean="0">
                    <a:ln/>
                    <a:solidFill>
                      <a:prstClr val="white"/>
                    </a:solidFill>
                    <a:latin typeface="Calibri"/>
                    <a:cs typeface="Arial"/>
                  </a:rPr>
                  <a:t>Enterprise Integration</a:t>
                </a:r>
              </a:p>
            </p:txBody>
          </p:sp>
        </p:grpSp>
        <p:sp>
          <p:nvSpPr>
            <p:cNvPr id="38" name="Rectangle 37"/>
            <p:cNvSpPr/>
            <p:nvPr/>
          </p:nvSpPr>
          <p:spPr>
            <a:xfrm>
              <a:off x="2487955" y="5446281"/>
              <a:ext cx="5732104" cy="269319"/>
            </a:xfrm>
            <a:prstGeom prst="rect">
              <a:avLst/>
            </a:prstGeom>
            <a:noFill/>
            <a:ln w="12700" cap="flat" cmpd="sng" algn="ctr">
              <a:noFill/>
              <a:prstDash val="sysDash"/>
            </a:ln>
            <a:effectLst/>
          </p:spPr>
          <p:txBody>
  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i="1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nsiderations</a:t>
              </a:r>
              <a:r>
                <a:rPr lang="en-US" sz="900" b="0" i="1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: LOB Specific Customization  |  Zero disruption  |  4 Waves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211912" y="1602714"/>
              <a:ext cx="1732743" cy="11090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vOps Enablement Framework</a:t>
              </a:r>
            </a:p>
            <a:p>
              <a:pPr marL="171450" indent="-171450" fontAlgn="auto">
                <a:spcBef>
                  <a:spcPts val="0"/>
                </a:spcBef>
                <a:spcAft>
                  <a:spcPts val="0"/>
                </a:spcAft>
                <a:buFont typeface="Arial"/>
                <a:buChar char="•"/>
              </a:pPr>
              <a:r>
                <a:rPr lang="en-US" sz="900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ech Stack</a:t>
              </a:r>
            </a:p>
            <a:p>
              <a:pPr marL="171450" indent="-171450" fontAlgn="auto">
                <a:spcBef>
                  <a:spcPts val="0"/>
                </a:spcBef>
                <a:spcAft>
                  <a:spcPts val="0"/>
                </a:spcAft>
                <a:buFont typeface="Arial"/>
                <a:buChar char="•"/>
              </a:pPr>
              <a:r>
                <a:rPr lang="en-US" sz="900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vOps Readiness Evaluation </a:t>
              </a:r>
            </a:p>
            <a:p>
              <a:pPr marL="171450" indent="-171450" fontAlgn="auto">
                <a:spcBef>
                  <a:spcPts val="0"/>
                </a:spcBef>
                <a:spcAft>
                  <a:spcPts val="0"/>
                </a:spcAft>
                <a:buFont typeface="Arial"/>
                <a:buChar char="•"/>
              </a:pPr>
              <a:r>
                <a:rPr lang="en-US" sz="900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rch Evaluation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211912" y="2901778"/>
              <a:ext cx="1863872" cy="11090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arclays Inputs and Dimensions</a:t>
              </a:r>
            </a:p>
            <a:p>
              <a:pPr marL="171450" indent="-171450" fontAlgn="auto">
                <a:spcBef>
                  <a:spcPts val="0"/>
                </a:spcBef>
                <a:spcAft>
                  <a:spcPts val="0"/>
                </a:spcAft>
                <a:buFont typeface="Arial"/>
                <a:buChar char="•"/>
              </a:pPr>
              <a:r>
                <a:rPr lang="en-US" sz="900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$$ - ESI Investment level</a:t>
              </a:r>
            </a:p>
            <a:p>
              <a:pPr marL="171450" indent="-171450" fontAlgn="auto">
                <a:spcBef>
                  <a:spcPts val="0"/>
                </a:spcBef>
                <a:spcAft>
                  <a:spcPts val="0"/>
                </a:spcAft>
                <a:buFont typeface="Arial"/>
                <a:buChar char="•"/>
              </a:pPr>
              <a:r>
                <a:rPr lang="en-US" sz="900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## - Strategic importance</a:t>
              </a:r>
            </a:p>
            <a:p>
              <a:pPr marL="171450" indent="-171450" fontAlgn="auto">
                <a:spcBef>
                  <a:spcPts val="0"/>
                </a:spcBef>
                <a:spcAft>
                  <a:spcPts val="0"/>
                </a:spcAft>
                <a:buFont typeface="Arial"/>
                <a:buChar char="•"/>
              </a:pPr>
              <a:r>
                <a:rPr lang="en-US" sz="900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%% - Future Growth potential</a:t>
              </a:r>
            </a:p>
          </p:txBody>
        </p:sp>
        <p:sp>
          <p:nvSpPr>
            <p:cNvPr id="41" name="Bent Arrow 40"/>
            <p:cNvSpPr/>
            <p:nvPr/>
          </p:nvSpPr>
          <p:spPr>
            <a:xfrm rot="5400000">
              <a:off x="6150214" y="3399830"/>
              <a:ext cx="263860" cy="321044"/>
            </a:xfrm>
            <a:prstGeom prst="bentArrow">
              <a:avLst>
                <a:gd name="adj1" fmla="val 34376"/>
                <a:gd name="adj2" fmla="val 33045"/>
                <a:gd name="adj3" fmla="val 25000"/>
                <a:gd name="adj4" fmla="val 33023"/>
              </a:avLst>
            </a:prstGeom>
            <a:solidFill>
              <a:srgbClr val="F6921E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b="0" kern="0" smtClean="0">
                <a:solidFill>
                  <a:srgbClr val="3C3C3C"/>
                </a:solidFill>
                <a:latin typeface="Calibri"/>
                <a:cs typeface="Arial"/>
              </a:endParaRPr>
            </a:p>
          </p:txBody>
        </p:sp>
        <p:sp>
          <p:nvSpPr>
            <p:cNvPr id="42" name="Bent Arrow 41"/>
            <p:cNvSpPr/>
            <p:nvPr/>
          </p:nvSpPr>
          <p:spPr>
            <a:xfrm rot="5400000">
              <a:off x="6384144" y="3853442"/>
              <a:ext cx="263860" cy="321044"/>
            </a:xfrm>
            <a:prstGeom prst="bentArrow">
              <a:avLst>
                <a:gd name="adj1" fmla="val 34376"/>
                <a:gd name="adj2" fmla="val 33045"/>
                <a:gd name="adj3" fmla="val 25000"/>
                <a:gd name="adj4" fmla="val 33023"/>
              </a:avLst>
            </a:prstGeom>
            <a:solidFill>
              <a:srgbClr val="F6921E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b="0" kern="0" smtClean="0">
                <a:solidFill>
                  <a:srgbClr val="3C3C3C"/>
                </a:solidFill>
                <a:latin typeface="Calibri"/>
                <a:cs typeface="Arial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4621791" y="3402870"/>
              <a:ext cx="1612443" cy="349860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rgbClr val="F6921E"/>
              </a:solidFill>
              <a:prstDash val="solid"/>
            </a:ln>
            <a:effectLst/>
          </p:spPr>
          <p:txBody>
            <a:bodyPr lIns="182880" rtlCol="0" anchor="ctr"/>
            <a:lstStyle/>
            <a:p>
              <a:pPr defTabSz="355600" fontAlgn="auto">
                <a:lnSpc>
                  <a:spcPct val="7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700" kern="0" dirty="0" smtClean="0">
                  <a:ln/>
                  <a:solidFill>
                    <a:srgbClr val="F6921E"/>
                  </a:solidFill>
                  <a:latin typeface="Calibri"/>
                  <a:cs typeface="Arial"/>
                </a:rPr>
                <a:t>Re-Design</a:t>
              </a:r>
            </a:p>
            <a:p>
              <a:pPr defTabSz="355600" fontAlgn="auto">
                <a:lnSpc>
                  <a:spcPct val="7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700" b="0" kern="0" dirty="0" smtClean="0">
                  <a:ln/>
                  <a:solidFill>
                    <a:srgbClr val="F6921E"/>
                  </a:solidFill>
                  <a:latin typeface="Calibri"/>
                  <a:cs typeface="Arial"/>
                </a:rPr>
                <a:t>Packaged Deploy, Cloud Aware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4846933" y="3814399"/>
              <a:ext cx="1612443" cy="349860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rgbClr val="F6921E"/>
              </a:solidFill>
              <a:prstDash val="solid"/>
            </a:ln>
            <a:effectLst/>
          </p:spPr>
          <p:txBody>
            <a:bodyPr rtlCol="0" anchor="ctr"/>
            <a:lstStyle/>
            <a:p>
              <a:pPr defTabSz="355600" fontAlgn="auto">
                <a:lnSpc>
                  <a:spcPct val="7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700" kern="0" dirty="0" smtClean="0">
                  <a:ln/>
                  <a:solidFill>
                    <a:srgbClr val="F6921E"/>
                  </a:solidFill>
                  <a:latin typeface="Calibri"/>
                  <a:cs typeface="Arial"/>
                </a:rPr>
                <a:t>Simplification</a:t>
              </a:r>
            </a:p>
            <a:p>
              <a:pPr defTabSz="355600" fontAlgn="auto">
                <a:lnSpc>
                  <a:spcPct val="7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700" b="0" kern="0" dirty="0" smtClean="0">
                  <a:ln/>
                  <a:solidFill>
                    <a:srgbClr val="F6921E"/>
                  </a:solidFill>
                  <a:latin typeface="Calibri"/>
                  <a:cs typeface="Arial"/>
                </a:rPr>
                <a:t>Deploy, Release, Configuration</a:t>
              </a: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5080867" y="4225415"/>
              <a:ext cx="1612443" cy="349860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rgbClr val="F6921E"/>
              </a:solidFill>
              <a:prstDash val="solid"/>
            </a:ln>
            <a:effectLst/>
          </p:spPr>
          <p:txBody>
            <a:bodyPr lIns="91440" rIns="0" rtlCol="0" anchor="ctr"/>
            <a:lstStyle/>
            <a:p>
              <a:pPr defTabSz="355600" fontAlgn="auto">
                <a:lnSpc>
                  <a:spcPct val="7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700" kern="0" dirty="0" smtClean="0">
                  <a:ln/>
                  <a:solidFill>
                    <a:srgbClr val="F6921E"/>
                  </a:solidFill>
                  <a:latin typeface="Calibri"/>
                  <a:cs typeface="Arial"/>
                </a:rPr>
                <a:t>Standardization</a:t>
              </a:r>
            </a:p>
            <a:p>
              <a:pPr defTabSz="355600" fontAlgn="auto">
                <a:lnSpc>
                  <a:spcPct val="7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700" b="0" kern="0" dirty="0" smtClean="0">
                  <a:ln/>
                  <a:solidFill>
                    <a:srgbClr val="F6921E"/>
                  </a:solidFill>
                  <a:latin typeface="Calibri"/>
                  <a:cs typeface="Arial"/>
                </a:rPr>
                <a:t>Release Process, Test Environment</a:t>
              </a: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2477476" y="5238557"/>
              <a:ext cx="1949222" cy="3219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pplication On-boarding</a:t>
              </a:r>
            </a:p>
          </p:txBody>
        </p:sp>
        <p:grpSp>
          <p:nvGrpSpPr>
            <p:cNvPr id="47" name="Group 46"/>
            <p:cNvGrpSpPr/>
            <p:nvPr/>
          </p:nvGrpSpPr>
          <p:grpSpPr>
            <a:xfrm>
              <a:off x="8392503" y="2342239"/>
              <a:ext cx="240250" cy="62830"/>
              <a:chOff x="7653193" y="1919133"/>
              <a:chExt cx="271607" cy="67600"/>
            </a:xfrm>
          </p:grpSpPr>
          <p:sp>
            <p:nvSpPr>
              <p:cNvPr id="58" name="Oval 57"/>
              <p:cNvSpPr/>
              <p:nvPr/>
            </p:nvSpPr>
            <p:spPr>
              <a:xfrm>
                <a:off x="7653193" y="1919133"/>
                <a:ext cx="67248" cy="67600"/>
              </a:xfrm>
              <a:prstGeom prst="ellipse">
                <a:avLst/>
              </a:pr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/>
            </p:spPr>
            <p:txBody>
              <a:bodyPr rtlCol="0" anchor="ctr"/>
              <a:lstStyle/>
              <a:p>
                <a:pPr algn="ctr" defTabSz="342866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" b="0" kern="0" dirty="0" smtClean="0">
                  <a:solidFill>
                    <a:srgbClr val="FC2D07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9" name="Oval 58"/>
              <p:cNvSpPr/>
              <p:nvPr/>
            </p:nvSpPr>
            <p:spPr>
              <a:xfrm>
                <a:off x="7754791" y="1919133"/>
                <a:ext cx="67248" cy="67600"/>
              </a:xfrm>
              <a:prstGeom prst="ellipse">
                <a:avLst/>
              </a:pr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/>
            </p:spPr>
            <p:txBody>
              <a:bodyPr rtlCol="0" anchor="ctr"/>
              <a:lstStyle/>
              <a:p>
                <a:pPr algn="ctr" defTabSz="342866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" b="0" kern="0" dirty="0" smtClean="0">
                  <a:solidFill>
                    <a:srgbClr val="FC2D07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0" name="Oval 59"/>
              <p:cNvSpPr/>
              <p:nvPr/>
            </p:nvSpPr>
            <p:spPr>
              <a:xfrm>
                <a:off x="7857552" y="1919133"/>
                <a:ext cx="67248" cy="67600"/>
              </a:xfrm>
              <a:prstGeom prst="ellipse">
                <a:avLst/>
              </a:pr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/>
            </p:spPr>
            <p:txBody>
              <a:bodyPr rtlCol="0" anchor="ctr"/>
              <a:lstStyle/>
              <a:p>
                <a:pPr algn="ctr" defTabSz="342866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" b="0" kern="0" dirty="0" smtClean="0">
                  <a:solidFill>
                    <a:srgbClr val="FC2D07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48" name="Rectangle 47"/>
            <p:cNvSpPr/>
            <p:nvPr/>
          </p:nvSpPr>
          <p:spPr>
            <a:xfrm>
              <a:off x="6796340" y="4359939"/>
              <a:ext cx="1938799" cy="405960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87906" tIns="91440" rIns="87906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0" kern="0" dirty="0" smtClean="0">
                  <a:solidFill>
                    <a:srgbClr val="FC2D07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pps</a:t>
              </a:r>
            </a:p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0" i="1" kern="0" dirty="0" smtClean="0">
                  <a:solidFill>
                    <a:srgbClr val="FC2D07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Growing; High Rev Impact</a:t>
              </a:r>
              <a:endParaRPr lang="en-US" sz="800" b="0" kern="0" dirty="0" smtClean="0">
                <a:solidFill>
                  <a:srgbClr val="FC2D07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6796340" y="4003604"/>
              <a:ext cx="1938799" cy="398168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FC2D07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0" kern="0" dirty="0" smtClean="0">
                  <a:solidFill>
                    <a:srgbClr val="FC2D07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-platform Select Applications</a:t>
              </a: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5775425" y="4748490"/>
              <a:ext cx="1461064" cy="420278"/>
            </a:xfrm>
            <a:prstGeom prst="rect">
              <a:avLst/>
            </a:prstGeom>
            <a:noFill/>
            <a:ln w="12700" cap="flat" cmpd="sng" algn="ctr">
              <a:solidFill>
                <a:srgbClr val="1F3B9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lign to Continuous Delivery Process </a:t>
              </a: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7620569" y="5245673"/>
              <a:ext cx="900794" cy="35775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i="1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 </a:t>
              </a:r>
              <a:r>
                <a:rPr lang="en-US" sz="1400" i="1" dirty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Waves</a:t>
              </a:r>
              <a:endParaRPr lang="en-US" sz="1400" dirty="0">
                <a:solidFill>
                  <a:srgbClr val="3C3C3C"/>
                </a:solidFill>
                <a:latin typeface="Calibri"/>
              </a:endParaRPr>
            </a:p>
          </p:txBody>
        </p:sp>
        <p:sp>
          <p:nvSpPr>
            <p:cNvPr id="52" name="Down Arrow 51"/>
            <p:cNvSpPr/>
            <p:nvPr/>
          </p:nvSpPr>
          <p:spPr>
            <a:xfrm>
              <a:off x="2660782" y="1600376"/>
              <a:ext cx="211128" cy="260736"/>
            </a:xfrm>
            <a:prstGeom prst="downArrow">
              <a:avLst/>
            </a:prstGeom>
            <a:solidFill>
              <a:srgbClr val="1F3B92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3" name="Rectangle 4"/>
            <p:cNvSpPr/>
            <p:nvPr/>
          </p:nvSpPr>
          <p:spPr>
            <a:xfrm>
              <a:off x="2356769" y="1068942"/>
              <a:ext cx="6372041" cy="578032"/>
            </a:xfrm>
            <a:custGeom>
              <a:avLst/>
              <a:gdLst>
                <a:gd name="connsiteX0" fmla="*/ 0 w 3733800"/>
                <a:gd name="connsiteY0" fmla="*/ 0 h 381000"/>
                <a:gd name="connsiteX1" fmla="*/ 3733800 w 3733800"/>
                <a:gd name="connsiteY1" fmla="*/ 0 h 381000"/>
                <a:gd name="connsiteX2" fmla="*/ 3733800 w 3733800"/>
                <a:gd name="connsiteY2" fmla="*/ 381000 h 381000"/>
                <a:gd name="connsiteX3" fmla="*/ 0 w 3733800"/>
                <a:gd name="connsiteY3" fmla="*/ 381000 h 381000"/>
                <a:gd name="connsiteX4" fmla="*/ 0 w 3733800"/>
                <a:gd name="connsiteY4" fmla="*/ 0 h 381000"/>
                <a:gd name="connsiteX0" fmla="*/ 0 w 3733800"/>
                <a:gd name="connsiteY0" fmla="*/ 0 h 381000"/>
                <a:gd name="connsiteX1" fmla="*/ 3733800 w 3733800"/>
                <a:gd name="connsiteY1" fmla="*/ 0 h 381000"/>
                <a:gd name="connsiteX2" fmla="*/ 3733800 w 3733800"/>
                <a:gd name="connsiteY2" fmla="*/ 381000 h 381000"/>
                <a:gd name="connsiteX3" fmla="*/ 239111 w 3733800"/>
                <a:gd name="connsiteY3" fmla="*/ 374952 h 381000"/>
                <a:gd name="connsiteX4" fmla="*/ 0 w 3733800"/>
                <a:gd name="connsiteY4" fmla="*/ 381000 h 381000"/>
                <a:gd name="connsiteX5" fmla="*/ 0 w 3733800"/>
                <a:gd name="connsiteY5" fmla="*/ 0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33800" h="381000">
                  <a:moveTo>
                    <a:pt x="0" y="0"/>
                  </a:moveTo>
                  <a:lnTo>
                    <a:pt x="3733800" y="0"/>
                  </a:lnTo>
                  <a:lnTo>
                    <a:pt x="3733800" y="381000"/>
                  </a:lnTo>
                  <a:lnTo>
                    <a:pt x="239111" y="374952"/>
                  </a:lnTo>
                  <a:lnTo>
                    <a:pt x="0" y="381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solidFill>
                <a:srgbClr val="1F3B92"/>
              </a:solidFill>
              <a:prstDash val="solid"/>
            </a:ln>
            <a:effectLst/>
          </p:spPr>
          <p:txBody>
            <a:bodyPr lIns="87906" tIns="43953" rIns="87906" bIns="43953"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arclays Application Ecosystem</a:t>
              </a:r>
            </a:p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tabLst>
                  <a:tab pos="5991638" algn="r"/>
                </a:tabLst>
                <a:defRPr/>
              </a:pPr>
              <a:r>
                <a:rPr lang="en-US" sz="900" b="0" i="1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ayments | Corporate | …</a:t>
              </a:r>
              <a:br>
                <a:rPr lang="en-US" sz="900" b="0" i="1" kern="0" dirty="0" smtClean="0">
                  <a:solidFill>
                    <a:srgbClr val="1F3B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sz="800" b="0" i="1" kern="0" dirty="0" smtClean="0">
                  <a:solidFill>
                    <a:srgbClr val="F3702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Java | .NET |  Siebel | … 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6178170" y="2473802"/>
              <a:ext cx="568662" cy="227264"/>
            </a:xfrm>
            <a:prstGeom prst="rect">
              <a:avLst/>
            </a:prstGeom>
            <a:noFill/>
          </p:spPr>
          <p:txBody>
            <a:bodyPr wrap="none" lIns="87906" tIns="43953" rIns="87906" bIns="43953" rtlCol="0">
              <a:spAutoFit/>
            </a:bodyPr>
            <a:lstStyle/>
            <a:p>
              <a:pPr defTabSz="34286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dirty="0" smtClean="0">
                  <a:solidFill>
                    <a:prstClr val="white">
                      <a:alpha val="70000"/>
                    </a:prst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9-12 </a:t>
              </a:r>
              <a:r>
                <a:rPr lang="en-US" sz="900" dirty="0">
                  <a:solidFill>
                    <a:prstClr val="white">
                      <a:alpha val="70000"/>
                    </a:prst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o</a:t>
              </a:r>
            </a:p>
          </p:txBody>
        </p:sp>
        <p:sp>
          <p:nvSpPr>
            <p:cNvPr id="55" name="Oval 54"/>
            <p:cNvSpPr/>
            <p:nvPr/>
          </p:nvSpPr>
          <p:spPr>
            <a:xfrm>
              <a:off x="6462442" y="2342239"/>
              <a:ext cx="59485" cy="62830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FC2D07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6" name="Oval 55"/>
            <p:cNvSpPr/>
            <p:nvPr/>
          </p:nvSpPr>
          <p:spPr>
            <a:xfrm>
              <a:off x="6553339" y="2342239"/>
              <a:ext cx="59485" cy="62830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FC2D07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4533410" y="2342239"/>
              <a:ext cx="59485" cy="62830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FC2D07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9" name="Rectangle 68"/>
          <p:cNvSpPr/>
          <p:nvPr/>
        </p:nvSpPr>
        <p:spPr bwMode="auto">
          <a:xfrm>
            <a:off x="386566" y="843142"/>
            <a:ext cx="9125312" cy="52621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400" i="1" dirty="0" smtClean="0">
                <a:solidFill>
                  <a:schemeClr val="bg1"/>
                </a:solidFill>
              </a:rPr>
              <a:t>Pilot and post-pilot rollouts will be executed in 4 waves over a 2 year journey. Quick wins will be targeted in earlier waves to gain confidence amongst application/ user groups</a:t>
            </a:r>
            <a:endParaRPr lang="en-GB" sz="1400" i="1" dirty="0">
              <a:solidFill>
                <a:schemeClr val="bg1"/>
              </a:solidFill>
            </a:endParaRPr>
          </a:p>
        </p:txBody>
      </p:sp>
      <p:sp>
        <p:nvSpPr>
          <p:cNvPr id="70" name="Rectangle 2"/>
          <p:cNvSpPr>
            <a:spLocks noChangeArrowheads="1"/>
          </p:cNvSpPr>
          <p:nvPr/>
        </p:nvSpPr>
        <p:spPr bwMode="auto">
          <a:xfrm>
            <a:off x="2650156" y="188915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US" sz="2400" b="0" dirty="0" smtClean="0">
                <a:solidFill>
                  <a:srgbClr val="00A4E8"/>
                </a:solidFill>
              </a:rPr>
              <a:t>Assessment &amp; Onboarding Criteria</a:t>
            </a:r>
            <a:endParaRPr lang="en-US" sz="2400" b="0" dirty="0">
              <a:solidFill>
                <a:srgbClr val="00A4E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25383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nip Single Corner Rectangle 2"/>
          <p:cNvSpPr/>
          <p:nvPr/>
        </p:nvSpPr>
        <p:spPr bwMode="auto">
          <a:xfrm>
            <a:off x="1089983" y="1299747"/>
            <a:ext cx="7952901" cy="554521"/>
          </a:xfrm>
          <a:custGeom>
            <a:avLst/>
            <a:gdLst>
              <a:gd name="connsiteX0" fmla="*/ 0 w 4337407"/>
              <a:gd name="connsiteY0" fmla="*/ 0 h 792516"/>
              <a:gd name="connsiteX1" fmla="*/ 4205318 w 4337407"/>
              <a:gd name="connsiteY1" fmla="*/ 0 h 792516"/>
              <a:gd name="connsiteX2" fmla="*/ 4337407 w 4337407"/>
              <a:gd name="connsiteY2" fmla="*/ 132089 h 792516"/>
              <a:gd name="connsiteX3" fmla="*/ 4337407 w 4337407"/>
              <a:gd name="connsiteY3" fmla="*/ 792516 h 792516"/>
              <a:gd name="connsiteX4" fmla="*/ 0 w 4337407"/>
              <a:gd name="connsiteY4" fmla="*/ 792516 h 792516"/>
              <a:gd name="connsiteX5" fmla="*/ 0 w 4337407"/>
              <a:gd name="connsiteY5" fmla="*/ 0 h 792516"/>
              <a:gd name="connsiteX0" fmla="*/ 0 w 4349933"/>
              <a:gd name="connsiteY0" fmla="*/ 0 h 792516"/>
              <a:gd name="connsiteX1" fmla="*/ 4205318 w 4349933"/>
              <a:gd name="connsiteY1" fmla="*/ 0 h 792516"/>
              <a:gd name="connsiteX2" fmla="*/ 4349933 w 4349933"/>
              <a:gd name="connsiteY2" fmla="*/ 770916 h 792516"/>
              <a:gd name="connsiteX3" fmla="*/ 4337407 w 4349933"/>
              <a:gd name="connsiteY3" fmla="*/ 792516 h 792516"/>
              <a:gd name="connsiteX4" fmla="*/ 0 w 4349933"/>
              <a:gd name="connsiteY4" fmla="*/ 792516 h 792516"/>
              <a:gd name="connsiteX5" fmla="*/ 0 w 4349933"/>
              <a:gd name="connsiteY5" fmla="*/ 0 h 792516"/>
              <a:gd name="connsiteX0" fmla="*/ 0 w 4349933"/>
              <a:gd name="connsiteY0" fmla="*/ 0 h 792516"/>
              <a:gd name="connsiteX1" fmla="*/ 1700112 w 4349933"/>
              <a:gd name="connsiteY1" fmla="*/ 0 h 792516"/>
              <a:gd name="connsiteX2" fmla="*/ 4349933 w 4349933"/>
              <a:gd name="connsiteY2" fmla="*/ 770916 h 792516"/>
              <a:gd name="connsiteX3" fmla="*/ 4337407 w 4349933"/>
              <a:gd name="connsiteY3" fmla="*/ 792516 h 792516"/>
              <a:gd name="connsiteX4" fmla="*/ 0 w 4349933"/>
              <a:gd name="connsiteY4" fmla="*/ 792516 h 792516"/>
              <a:gd name="connsiteX5" fmla="*/ 0 w 4349933"/>
              <a:gd name="connsiteY5" fmla="*/ 0 h 792516"/>
              <a:gd name="connsiteX0" fmla="*/ 0 w 4349933"/>
              <a:gd name="connsiteY0" fmla="*/ 0 h 792516"/>
              <a:gd name="connsiteX1" fmla="*/ 1055997 w 4349933"/>
              <a:gd name="connsiteY1" fmla="*/ 12526 h 792516"/>
              <a:gd name="connsiteX2" fmla="*/ 4349933 w 4349933"/>
              <a:gd name="connsiteY2" fmla="*/ 770916 h 792516"/>
              <a:gd name="connsiteX3" fmla="*/ 4337407 w 4349933"/>
              <a:gd name="connsiteY3" fmla="*/ 792516 h 792516"/>
              <a:gd name="connsiteX4" fmla="*/ 0 w 4349933"/>
              <a:gd name="connsiteY4" fmla="*/ 792516 h 792516"/>
              <a:gd name="connsiteX5" fmla="*/ 0 w 4349933"/>
              <a:gd name="connsiteY5" fmla="*/ 0 h 792516"/>
              <a:gd name="connsiteX0" fmla="*/ 0 w 4349933"/>
              <a:gd name="connsiteY0" fmla="*/ 12526 h 805042"/>
              <a:gd name="connsiteX1" fmla="*/ 1042293 w 4349933"/>
              <a:gd name="connsiteY1" fmla="*/ 0 h 805042"/>
              <a:gd name="connsiteX2" fmla="*/ 4349933 w 4349933"/>
              <a:gd name="connsiteY2" fmla="*/ 783442 h 805042"/>
              <a:gd name="connsiteX3" fmla="*/ 4337407 w 4349933"/>
              <a:gd name="connsiteY3" fmla="*/ 805042 h 805042"/>
              <a:gd name="connsiteX4" fmla="*/ 0 w 4349933"/>
              <a:gd name="connsiteY4" fmla="*/ 805042 h 805042"/>
              <a:gd name="connsiteX5" fmla="*/ 0 w 4349933"/>
              <a:gd name="connsiteY5" fmla="*/ 12526 h 805042"/>
              <a:gd name="connsiteX0" fmla="*/ 13705 w 4349933"/>
              <a:gd name="connsiteY0" fmla="*/ 0 h 805042"/>
              <a:gd name="connsiteX1" fmla="*/ 1042293 w 4349933"/>
              <a:gd name="connsiteY1" fmla="*/ 0 h 805042"/>
              <a:gd name="connsiteX2" fmla="*/ 4349933 w 4349933"/>
              <a:gd name="connsiteY2" fmla="*/ 783442 h 805042"/>
              <a:gd name="connsiteX3" fmla="*/ 4337407 w 4349933"/>
              <a:gd name="connsiteY3" fmla="*/ 805042 h 805042"/>
              <a:gd name="connsiteX4" fmla="*/ 0 w 4349933"/>
              <a:gd name="connsiteY4" fmla="*/ 805042 h 805042"/>
              <a:gd name="connsiteX5" fmla="*/ 13705 w 4349933"/>
              <a:gd name="connsiteY5" fmla="*/ 0 h 805042"/>
              <a:gd name="connsiteX0" fmla="*/ 6853 w 4349933"/>
              <a:gd name="connsiteY0" fmla="*/ 0 h 805042"/>
              <a:gd name="connsiteX1" fmla="*/ 1042293 w 4349933"/>
              <a:gd name="connsiteY1" fmla="*/ 0 h 805042"/>
              <a:gd name="connsiteX2" fmla="*/ 4349933 w 4349933"/>
              <a:gd name="connsiteY2" fmla="*/ 783442 h 805042"/>
              <a:gd name="connsiteX3" fmla="*/ 4337407 w 4349933"/>
              <a:gd name="connsiteY3" fmla="*/ 805042 h 805042"/>
              <a:gd name="connsiteX4" fmla="*/ 0 w 4349933"/>
              <a:gd name="connsiteY4" fmla="*/ 805042 h 805042"/>
              <a:gd name="connsiteX5" fmla="*/ 6853 w 4349933"/>
              <a:gd name="connsiteY5" fmla="*/ 0 h 805042"/>
              <a:gd name="connsiteX0" fmla="*/ 6853 w 4349933"/>
              <a:gd name="connsiteY0" fmla="*/ 0 h 805042"/>
              <a:gd name="connsiteX1" fmla="*/ 1028588 w 4349933"/>
              <a:gd name="connsiteY1" fmla="*/ 0 h 805042"/>
              <a:gd name="connsiteX2" fmla="*/ 4349933 w 4349933"/>
              <a:gd name="connsiteY2" fmla="*/ 783442 h 805042"/>
              <a:gd name="connsiteX3" fmla="*/ 4337407 w 4349933"/>
              <a:gd name="connsiteY3" fmla="*/ 805042 h 805042"/>
              <a:gd name="connsiteX4" fmla="*/ 0 w 4349933"/>
              <a:gd name="connsiteY4" fmla="*/ 805042 h 805042"/>
              <a:gd name="connsiteX5" fmla="*/ 6853 w 4349933"/>
              <a:gd name="connsiteY5" fmla="*/ 0 h 805042"/>
              <a:gd name="connsiteX0" fmla="*/ 659 w 4350591"/>
              <a:gd name="connsiteY0" fmla="*/ 0 h 805042"/>
              <a:gd name="connsiteX1" fmla="*/ 1029246 w 4350591"/>
              <a:gd name="connsiteY1" fmla="*/ 0 h 805042"/>
              <a:gd name="connsiteX2" fmla="*/ 4350591 w 4350591"/>
              <a:gd name="connsiteY2" fmla="*/ 783442 h 805042"/>
              <a:gd name="connsiteX3" fmla="*/ 4338065 w 4350591"/>
              <a:gd name="connsiteY3" fmla="*/ 805042 h 805042"/>
              <a:gd name="connsiteX4" fmla="*/ 658 w 4350591"/>
              <a:gd name="connsiteY4" fmla="*/ 805042 h 805042"/>
              <a:gd name="connsiteX5" fmla="*/ 659 w 4350591"/>
              <a:gd name="connsiteY5" fmla="*/ 0 h 805042"/>
              <a:gd name="connsiteX0" fmla="*/ 659 w 4350591"/>
              <a:gd name="connsiteY0" fmla="*/ 250521 h 805042"/>
              <a:gd name="connsiteX1" fmla="*/ 1029246 w 4350591"/>
              <a:gd name="connsiteY1" fmla="*/ 0 h 805042"/>
              <a:gd name="connsiteX2" fmla="*/ 4350591 w 4350591"/>
              <a:gd name="connsiteY2" fmla="*/ 783442 h 805042"/>
              <a:gd name="connsiteX3" fmla="*/ 4338065 w 4350591"/>
              <a:gd name="connsiteY3" fmla="*/ 805042 h 805042"/>
              <a:gd name="connsiteX4" fmla="*/ 658 w 4350591"/>
              <a:gd name="connsiteY4" fmla="*/ 805042 h 805042"/>
              <a:gd name="connsiteX5" fmla="*/ 659 w 4350591"/>
              <a:gd name="connsiteY5" fmla="*/ 250521 h 805042"/>
              <a:gd name="connsiteX0" fmla="*/ 659 w 4350591"/>
              <a:gd name="connsiteY0" fmla="*/ 0 h 554521"/>
              <a:gd name="connsiteX1" fmla="*/ 1022394 w 4350591"/>
              <a:gd name="connsiteY1" fmla="*/ 12526 h 554521"/>
              <a:gd name="connsiteX2" fmla="*/ 4350591 w 4350591"/>
              <a:gd name="connsiteY2" fmla="*/ 532921 h 554521"/>
              <a:gd name="connsiteX3" fmla="*/ 4338065 w 4350591"/>
              <a:gd name="connsiteY3" fmla="*/ 554521 h 554521"/>
              <a:gd name="connsiteX4" fmla="*/ 658 w 4350591"/>
              <a:gd name="connsiteY4" fmla="*/ 554521 h 554521"/>
              <a:gd name="connsiteX5" fmla="*/ 659 w 4350591"/>
              <a:gd name="connsiteY5" fmla="*/ 0 h 554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50591" h="554521">
                <a:moveTo>
                  <a:pt x="659" y="0"/>
                </a:moveTo>
                <a:lnTo>
                  <a:pt x="1022394" y="12526"/>
                </a:lnTo>
                <a:lnTo>
                  <a:pt x="4350591" y="532921"/>
                </a:lnTo>
                <a:lnTo>
                  <a:pt x="4338065" y="554521"/>
                </a:lnTo>
                <a:lnTo>
                  <a:pt x="658" y="554521"/>
                </a:lnTo>
                <a:cubicBezTo>
                  <a:pt x="2942" y="286174"/>
                  <a:pt x="-1625" y="268347"/>
                  <a:pt x="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200" i="1" dirty="0" smtClean="0"/>
              <a:t>          10 </a:t>
            </a:r>
            <a:r>
              <a:rPr lang="en-US" sz="1200" i="1" dirty="0"/>
              <a:t>Apps, 12 </a:t>
            </a:r>
            <a:r>
              <a:rPr lang="en-US" sz="1200" i="1" dirty="0" smtClean="0"/>
              <a:t>Weeks</a:t>
            </a:r>
            <a:endParaRPr lang="en-US" i="1" dirty="0"/>
          </a:p>
        </p:txBody>
      </p:sp>
      <p:sp>
        <p:nvSpPr>
          <p:cNvPr id="160" name="Rectangle 2"/>
          <p:cNvSpPr>
            <a:spLocks noChangeArrowheads="1"/>
          </p:cNvSpPr>
          <p:nvPr/>
        </p:nvSpPr>
        <p:spPr bwMode="auto">
          <a:xfrm>
            <a:off x="2650156" y="188915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GB" sz="2400" b="0" dirty="0" smtClean="0">
                <a:solidFill>
                  <a:schemeClr val="tx2"/>
                </a:solidFill>
              </a:rPr>
              <a:t>High Level Plan</a:t>
            </a:r>
            <a:endParaRPr lang="en-US" sz="2400" b="0" dirty="0">
              <a:solidFill>
                <a:schemeClr val="tx2"/>
              </a:solidFill>
            </a:endParaRPr>
          </a:p>
        </p:txBody>
      </p:sp>
      <p:graphicFrame>
        <p:nvGraphicFramePr>
          <p:cNvPr id="72" name="Table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741371"/>
              </p:ext>
            </p:extLst>
          </p:nvPr>
        </p:nvGraphicFramePr>
        <p:xfrm>
          <a:off x="415352" y="2106682"/>
          <a:ext cx="8624148" cy="3567767"/>
        </p:xfrm>
        <a:graphic>
          <a:graphicData uri="http://schemas.openxmlformats.org/drawingml/2006/table">
            <a:tbl>
              <a:tblPr/>
              <a:tblGrid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</a:tblGrid>
              <a:tr h="35677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 dirty="0"/>
                    </a:p>
                  </a:txBody>
                  <a:tcPr marR="93585" marT="0" marB="27432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 dirty="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 dirty="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 dirty="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 dirty="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 dirty="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 dirty="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3" name="Rectangle 72"/>
          <p:cNvSpPr/>
          <p:nvPr/>
        </p:nvSpPr>
        <p:spPr>
          <a:xfrm>
            <a:off x="1022473" y="2189229"/>
            <a:ext cx="1566198" cy="253916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85CC"/>
                </a:solidFill>
                <a:latin typeface="Calibri"/>
                <a:cs typeface="+mn-cs"/>
              </a:rPr>
              <a:t>Scoping &amp; Assessment</a:t>
            </a:r>
            <a:endParaRPr lang="en-US" sz="1200" b="0" dirty="0">
              <a:solidFill>
                <a:srgbClr val="0085CC"/>
              </a:solidFill>
              <a:latin typeface="Calibri"/>
              <a:cs typeface="+mn-cs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1216367" y="2379395"/>
            <a:ext cx="1942183" cy="34009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rgbClr val="3C3C3C"/>
                </a:solidFill>
                <a:latin typeface="Calibri"/>
                <a:cs typeface="+mn-cs"/>
              </a:rPr>
              <a:t>Scope and objectives of the strategy</a:t>
            </a: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rgbClr val="3C3C3C"/>
                </a:solidFill>
                <a:latin typeface="Calibri"/>
                <a:cs typeface="+mn-cs"/>
              </a:rPr>
              <a:t>Program introduction and Core Team</a:t>
            </a:r>
          </a:p>
        </p:txBody>
      </p:sp>
      <p:sp>
        <p:nvSpPr>
          <p:cNvPr id="75" name="Rectangle 74"/>
          <p:cNvSpPr/>
          <p:nvPr/>
        </p:nvSpPr>
        <p:spPr>
          <a:xfrm>
            <a:off x="2269277" y="3722708"/>
            <a:ext cx="2248510" cy="315471"/>
          </a:xfrm>
          <a:prstGeom prst="rect">
            <a:avLst/>
          </a:prstGeom>
        </p:spPr>
        <p:txBody>
          <a:bodyPr wrap="square" lIns="68580" tIns="34290" rIns="68580" bIns="34290" anchor="t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Process Definition for Provisioning – Initial, intermediate and end state</a:t>
            </a:r>
          </a:p>
        </p:txBody>
      </p:sp>
      <p:sp>
        <p:nvSpPr>
          <p:cNvPr id="76" name="Rectangle 75"/>
          <p:cNvSpPr/>
          <p:nvPr/>
        </p:nvSpPr>
        <p:spPr>
          <a:xfrm>
            <a:off x="4525605" y="3722708"/>
            <a:ext cx="2054408" cy="315471"/>
          </a:xfrm>
          <a:prstGeom prst="rect">
            <a:avLst/>
          </a:prstGeom>
        </p:spPr>
        <p:txBody>
          <a:bodyPr wrap="square" lIns="68580" tIns="34290" rIns="68580" bIns="34290" anchor="t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Provisioning template design &amp; build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 1. OS   2. OS + SW   3. OS + SW + APP </a:t>
            </a:r>
          </a:p>
        </p:txBody>
      </p:sp>
      <p:sp>
        <p:nvSpPr>
          <p:cNvPr id="77" name="Rectangle 76"/>
          <p:cNvSpPr/>
          <p:nvPr/>
        </p:nvSpPr>
        <p:spPr>
          <a:xfrm>
            <a:off x="2272775" y="4300493"/>
            <a:ext cx="1292642" cy="192360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Build templates design</a:t>
            </a:r>
          </a:p>
        </p:txBody>
      </p:sp>
      <p:sp>
        <p:nvSpPr>
          <p:cNvPr id="78" name="Rectangle 77"/>
          <p:cNvSpPr/>
          <p:nvPr/>
        </p:nvSpPr>
        <p:spPr>
          <a:xfrm>
            <a:off x="3575054" y="4300495"/>
            <a:ext cx="1918826" cy="3154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Build tool integrations – Code coverage, code quality, test execution</a:t>
            </a:r>
          </a:p>
        </p:txBody>
      </p:sp>
      <p:sp>
        <p:nvSpPr>
          <p:cNvPr id="79" name="Rectangle 78"/>
          <p:cNvSpPr/>
          <p:nvPr/>
        </p:nvSpPr>
        <p:spPr>
          <a:xfrm>
            <a:off x="5591997" y="4308629"/>
            <a:ext cx="1918826" cy="43858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Build time provisioning &amp;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test execution, monito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metrics capture &amp; report</a:t>
            </a:r>
          </a:p>
        </p:txBody>
      </p:sp>
      <p:sp>
        <p:nvSpPr>
          <p:cNvPr id="80" name="Rectangle 79"/>
          <p:cNvSpPr/>
          <p:nvPr/>
        </p:nvSpPr>
        <p:spPr>
          <a:xfrm>
            <a:off x="7054773" y="4299478"/>
            <a:ext cx="1918826" cy="3154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Build artefact upload &amp; versioning design and implementation</a:t>
            </a:r>
          </a:p>
        </p:txBody>
      </p:sp>
      <p:sp>
        <p:nvSpPr>
          <p:cNvPr id="81" name="Rectangle 80"/>
          <p:cNvSpPr/>
          <p:nvPr/>
        </p:nvSpPr>
        <p:spPr>
          <a:xfrm>
            <a:off x="2269554" y="5006156"/>
            <a:ext cx="478250" cy="192360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Tooling </a:t>
            </a:r>
          </a:p>
        </p:txBody>
      </p:sp>
      <p:sp>
        <p:nvSpPr>
          <p:cNvPr id="82" name="Rectangle 81"/>
          <p:cNvSpPr/>
          <p:nvPr/>
        </p:nvSpPr>
        <p:spPr>
          <a:xfrm>
            <a:off x="6485952" y="3722708"/>
            <a:ext cx="2054408" cy="315471"/>
          </a:xfrm>
          <a:prstGeom prst="rect">
            <a:avLst/>
          </a:prstGeom>
        </p:spPr>
        <p:txBody>
          <a:bodyPr wrap="square" lIns="68580" tIns="34290" rIns="68580" bIns="34290" anchor="t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Tool integrations – Logging, monitoring, </a:t>
            </a:r>
            <a:r>
              <a:rPr lang="en-US" sz="800" b="0" dirty="0" err="1">
                <a:solidFill>
                  <a:prstClr val="black"/>
                </a:solidFill>
                <a:latin typeface="Calibri"/>
                <a:cs typeface="+mn-cs"/>
              </a:rPr>
              <a:t>etc</a:t>
            </a:r>
            <a:endParaRPr lang="en-US" sz="800" b="0" dirty="0">
              <a:solidFill>
                <a:prstClr val="black"/>
              </a:solidFill>
              <a:latin typeface="Calibri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Feedback &amp; enhancements</a:t>
            </a:r>
          </a:p>
        </p:txBody>
      </p:sp>
      <p:sp>
        <p:nvSpPr>
          <p:cNvPr id="83" name="Rectangle 82"/>
          <p:cNvSpPr/>
          <p:nvPr/>
        </p:nvSpPr>
        <p:spPr>
          <a:xfrm>
            <a:off x="3011445" y="5015684"/>
            <a:ext cx="2197104" cy="3154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Priority for Automation of tests  smoke/regression/functional</a:t>
            </a:r>
          </a:p>
        </p:txBody>
      </p:sp>
      <p:sp>
        <p:nvSpPr>
          <p:cNvPr id="84" name="Rectangle 83"/>
          <p:cNvSpPr/>
          <p:nvPr/>
        </p:nvSpPr>
        <p:spPr>
          <a:xfrm>
            <a:off x="5053493" y="5014979"/>
            <a:ext cx="1477194" cy="3154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Tooling enablement for </a:t>
            </a:r>
            <a:r>
              <a:rPr lang="en-US" sz="800" b="0" dirty="0" err="1">
                <a:solidFill>
                  <a:prstClr val="black"/>
                </a:solidFill>
                <a:latin typeface="Calibri"/>
                <a:cs typeface="+mn-cs"/>
              </a:rPr>
              <a:t>PoC</a:t>
            </a: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 Project teams</a:t>
            </a:r>
          </a:p>
        </p:txBody>
      </p:sp>
      <p:sp>
        <p:nvSpPr>
          <p:cNvPr id="85" name="Rectangle 84"/>
          <p:cNvSpPr/>
          <p:nvPr/>
        </p:nvSpPr>
        <p:spPr>
          <a:xfrm>
            <a:off x="6637539" y="5014978"/>
            <a:ext cx="2236013" cy="3154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Integrate automation into release cycle – execution and new test case creation - Process</a:t>
            </a:r>
          </a:p>
        </p:txBody>
      </p:sp>
      <p:sp>
        <p:nvSpPr>
          <p:cNvPr id="86" name="Rectangle 85"/>
          <p:cNvSpPr/>
          <p:nvPr/>
        </p:nvSpPr>
        <p:spPr>
          <a:xfrm>
            <a:off x="2288426" y="5607295"/>
            <a:ext cx="686856" cy="3154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Tooling &amp; Prototyping </a:t>
            </a:r>
          </a:p>
        </p:txBody>
      </p:sp>
      <p:sp>
        <p:nvSpPr>
          <p:cNvPr id="87" name="Rectangle 86"/>
          <p:cNvSpPr/>
          <p:nvPr/>
        </p:nvSpPr>
        <p:spPr>
          <a:xfrm>
            <a:off x="3272323" y="5593721"/>
            <a:ext cx="2404415" cy="3154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Categorization and Identification of core backend services - Complexity, usage, integrations </a:t>
            </a:r>
          </a:p>
        </p:txBody>
      </p:sp>
      <p:sp>
        <p:nvSpPr>
          <p:cNvPr id="88" name="Rectangle 87"/>
          <p:cNvSpPr/>
          <p:nvPr/>
        </p:nvSpPr>
        <p:spPr>
          <a:xfrm>
            <a:off x="5773620" y="5607292"/>
            <a:ext cx="1482798" cy="3154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 err="1">
                <a:solidFill>
                  <a:prstClr val="black"/>
                </a:solidFill>
                <a:latin typeface="Calibri"/>
                <a:cs typeface="+mn-cs"/>
              </a:rPr>
              <a:t>Shareability</a:t>
            </a: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 across project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Version Co-Existence &amp; Data</a:t>
            </a:r>
          </a:p>
        </p:txBody>
      </p:sp>
      <p:sp>
        <p:nvSpPr>
          <p:cNvPr id="89" name="Rectangle 88"/>
          <p:cNvSpPr/>
          <p:nvPr/>
        </p:nvSpPr>
        <p:spPr>
          <a:xfrm>
            <a:off x="7536356" y="5607292"/>
            <a:ext cx="1431073" cy="3154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Common architectur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Service Enhancements</a:t>
            </a:r>
          </a:p>
        </p:txBody>
      </p:sp>
      <p:grpSp>
        <p:nvGrpSpPr>
          <p:cNvPr id="91" name="Group 90"/>
          <p:cNvGrpSpPr/>
          <p:nvPr/>
        </p:nvGrpSpPr>
        <p:grpSpPr>
          <a:xfrm>
            <a:off x="1091876" y="2446293"/>
            <a:ext cx="113898" cy="248328"/>
            <a:chOff x="889000" y="1615016"/>
            <a:chExt cx="169333" cy="355600"/>
          </a:xfrm>
        </p:grpSpPr>
        <p:pic>
          <p:nvPicPr>
            <p:cNvPr id="92" name="Picture 9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89000" y="1615016"/>
              <a:ext cx="169333" cy="169333"/>
            </a:xfrm>
            <a:prstGeom prst="rect">
              <a:avLst/>
            </a:prstGeom>
          </p:spPr>
        </p:pic>
        <p:pic>
          <p:nvPicPr>
            <p:cNvPr id="93" name="Picture 9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89000" y="1801283"/>
              <a:ext cx="169333" cy="169333"/>
            </a:xfrm>
            <a:prstGeom prst="rect">
              <a:avLst/>
            </a:prstGeom>
          </p:spPr>
        </p:pic>
      </p:grpSp>
      <p:sp>
        <p:nvSpPr>
          <p:cNvPr id="94" name="Rectangle 93"/>
          <p:cNvSpPr/>
          <p:nvPr/>
        </p:nvSpPr>
        <p:spPr>
          <a:xfrm>
            <a:off x="3383834" y="2379394"/>
            <a:ext cx="4575316" cy="47551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rgbClr val="3C3C3C"/>
                </a:solidFill>
                <a:latin typeface="Calibri"/>
                <a:cs typeface="+mn-cs"/>
              </a:rPr>
              <a:t>Data collection template</a:t>
            </a: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0" dirty="0" err="1">
                <a:solidFill>
                  <a:srgbClr val="3C3C3C"/>
                </a:solidFill>
                <a:latin typeface="Calibri"/>
                <a:cs typeface="+mn-cs"/>
              </a:rPr>
              <a:t>PoC</a:t>
            </a:r>
            <a:r>
              <a:rPr lang="en-US" sz="800" b="0" dirty="0">
                <a:solidFill>
                  <a:srgbClr val="3C3C3C"/>
                </a:solidFill>
                <a:latin typeface="Calibri"/>
                <a:cs typeface="+mn-cs"/>
              </a:rPr>
              <a:t> Project identified and prioritization – low risk/optimal output</a:t>
            </a: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800" b="0" dirty="0">
              <a:solidFill>
                <a:srgbClr val="3C3C3C"/>
              </a:solidFill>
              <a:latin typeface="Calibri"/>
              <a:cs typeface="+mn-cs"/>
            </a:endParaRPr>
          </a:p>
        </p:txBody>
      </p:sp>
      <p:grpSp>
        <p:nvGrpSpPr>
          <p:cNvPr id="95" name="Group 94"/>
          <p:cNvGrpSpPr/>
          <p:nvPr/>
        </p:nvGrpSpPr>
        <p:grpSpPr>
          <a:xfrm>
            <a:off x="3259343" y="2446293"/>
            <a:ext cx="113898" cy="248328"/>
            <a:chOff x="889000" y="1615016"/>
            <a:chExt cx="169333" cy="355600"/>
          </a:xfrm>
        </p:grpSpPr>
        <p:pic>
          <p:nvPicPr>
            <p:cNvPr id="96" name="Picture 9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89000" y="1615016"/>
              <a:ext cx="169333" cy="169333"/>
            </a:xfrm>
            <a:prstGeom prst="rect">
              <a:avLst/>
            </a:prstGeom>
          </p:spPr>
        </p:pic>
        <p:pic>
          <p:nvPicPr>
            <p:cNvPr id="97" name="Picture 9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89000" y="1801283"/>
              <a:ext cx="169333" cy="169333"/>
            </a:xfrm>
            <a:prstGeom prst="rect">
              <a:avLst/>
            </a:prstGeom>
          </p:spPr>
        </p:pic>
      </p:grpSp>
      <p:sp>
        <p:nvSpPr>
          <p:cNvPr id="98" name="Rectangle 97"/>
          <p:cNvSpPr/>
          <p:nvPr/>
        </p:nvSpPr>
        <p:spPr>
          <a:xfrm>
            <a:off x="1665131" y="2807292"/>
            <a:ext cx="3409910" cy="25391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85CC"/>
                </a:solidFill>
                <a:latin typeface="Calibri"/>
                <a:cs typeface="+mn-cs"/>
              </a:rPr>
              <a:t>Foundation/ </a:t>
            </a:r>
            <a:r>
              <a:rPr lang="en-US" sz="1200" dirty="0">
                <a:solidFill>
                  <a:srgbClr val="0085CC"/>
                </a:solidFill>
                <a:latin typeface="Calibri"/>
                <a:cs typeface="+mn-cs"/>
              </a:rPr>
              <a:t>Enabler </a:t>
            </a:r>
            <a:r>
              <a:rPr lang="en-US" sz="1200" dirty="0" smtClean="0">
                <a:solidFill>
                  <a:srgbClr val="0085CC"/>
                </a:solidFill>
                <a:latin typeface="Calibri"/>
                <a:cs typeface="+mn-cs"/>
              </a:rPr>
              <a:t>Build</a:t>
            </a:r>
            <a:endParaRPr lang="en-US" sz="1200" dirty="0">
              <a:solidFill>
                <a:srgbClr val="0085CC"/>
              </a:solidFill>
              <a:latin typeface="Calibri"/>
              <a:cs typeface="+mn-cs"/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1868301" y="2997457"/>
            <a:ext cx="3373052" cy="47551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rgbClr val="3C3C3C"/>
                </a:solidFill>
                <a:latin typeface="Calibri"/>
                <a:cs typeface="+mn-cs"/>
              </a:rPr>
              <a:t>Build Key enablement systems</a:t>
            </a: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rgbClr val="3C3C3C"/>
                </a:solidFill>
                <a:latin typeface="Calibri"/>
                <a:cs typeface="+mn-cs"/>
              </a:rPr>
              <a:t> - Private Cloud stack                               - JIRA/Confluence/DSL Servers/NOLIO / VTAF/KORE/ERA, JENKINS ( master/slave), NEXUS</a:t>
            </a:r>
          </a:p>
        </p:txBody>
      </p:sp>
      <p:pic>
        <p:nvPicPr>
          <p:cNvPr id="100" name="Picture 9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3810" y="3064357"/>
            <a:ext cx="113898" cy="118251"/>
          </a:xfrm>
          <a:prstGeom prst="rect">
            <a:avLst/>
          </a:prstGeom>
        </p:spPr>
      </p:pic>
      <p:sp>
        <p:nvSpPr>
          <p:cNvPr id="101" name="Rectangle 100"/>
          <p:cNvSpPr/>
          <p:nvPr/>
        </p:nvSpPr>
        <p:spPr>
          <a:xfrm>
            <a:off x="6892352" y="2997458"/>
            <a:ext cx="2057400" cy="2046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rgbClr val="3C3C3C"/>
                </a:solidFill>
                <a:latin typeface="Calibri"/>
                <a:cs typeface="+mn-cs"/>
              </a:rPr>
              <a:t>Key tech patterns for enablement </a:t>
            </a:r>
          </a:p>
        </p:txBody>
      </p:sp>
      <p:pic>
        <p:nvPicPr>
          <p:cNvPr id="102" name="Picture 10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3752" y="3064357"/>
            <a:ext cx="113898" cy="118251"/>
          </a:xfrm>
          <a:prstGeom prst="rect">
            <a:avLst/>
          </a:prstGeom>
        </p:spPr>
      </p:pic>
      <p:sp>
        <p:nvSpPr>
          <p:cNvPr id="103" name="Rectangle 102"/>
          <p:cNvSpPr/>
          <p:nvPr/>
        </p:nvSpPr>
        <p:spPr>
          <a:xfrm>
            <a:off x="5503820" y="2997458"/>
            <a:ext cx="1143000" cy="2046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rgbClr val="3C3C3C"/>
                </a:solidFill>
                <a:latin typeface="Calibri"/>
                <a:cs typeface="+mn-cs"/>
              </a:rPr>
              <a:t>Baseline OS build</a:t>
            </a:r>
          </a:p>
        </p:txBody>
      </p:sp>
      <p:pic>
        <p:nvPicPr>
          <p:cNvPr id="104" name="Picture 10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2285" y="3064357"/>
            <a:ext cx="113898" cy="118251"/>
          </a:xfrm>
          <a:prstGeom prst="rect">
            <a:avLst/>
          </a:prstGeom>
        </p:spPr>
      </p:pic>
      <p:sp>
        <p:nvSpPr>
          <p:cNvPr id="105" name="Rectangle 104"/>
          <p:cNvSpPr/>
          <p:nvPr/>
        </p:nvSpPr>
        <p:spPr>
          <a:xfrm>
            <a:off x="2071532" y="3518494"/>
            <a:ext cx="928075" cy="253916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85CC"/>
                </a:solidFill>
                <a:latin typeface="Calibri"/>
                <a:cs typeface="+mn-cs"/>
              </a:rPr>
              <a:t>Provisioning</a:t>
            </a:r>
          </a:p>
        </p:txBody>
      </p:sp>
      <p:pic>
        <p:nvPicPr>
          <p:cNvPr id="106" name="Picture 10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0210" y="3775559"/>
            <a:ext cx="113898" cy="118251"/>
          </a:xfrm>
          <a:prstGeom prst="rect">
            <a:avLst/>
          </a:prstGeom>
        </p:spPr>
      </p:pic>
      <p:pic>
        <p:nvPicPr>
          <p:cNvPr id="107" name="Picture 10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02343" y="3775559"/>
            <a:ext cx="113898" cy="118251"/>
          </a:xfrm>
          <a:prstGeom prst="rect">
            <a:avLst/>
          </a:prstGeom>
        </p:spPr>
      </p:pic>
      <p:pic>
        <p:nvPicPr>
          <p:cNvPr id="108" name="Picture 10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6610" y="3775559"/>
            <a:ext cx="113898" cy="118251"/>
          </a:xfrm>
          <a:prstGeom prst="rect">
            <a:avLst/>
          </a:prstGeom>
        </p:spPr>
      </p:pic>
      <p:pic>
        <p:nvPicPr>
          <p:cNvPr id="109" name="Picture 10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6610" y="3902558"/>
            <a:ext cx="113898" cy="118251"/>
          </a:xfrm>
          <a:prstGeom prst="rect">
            <a:avLst/>
          </a:prstGeom>
        </p:spPr>
      </p:pic>
      <p:sp>
        <p:nvSpPr>
          <p:cNvPr id="110" name="Rectangle 109"/>
          <p:cNvSpPr/>
          <p:nvPr/>
        </p:nvSpPr>
        <p:spPr>
          <a:xfrm>
            <a:off x="2071532" y="4102696"/>
            <a:ext cx="632289" cy="253916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85CC"/>
                </a:solidFill>
                <a:latin typeface="Calibri"/>
                <a:cs typeface="+mn-cs"/>
              </a:rPr>
              <a:t>DevOps</a:t>
            </a:r>
          </a:p>
        </p:txBody>
      </p:sp>
      <p:pic>
        <p:nvPicPr>
          <p:cNvPr id="111" name="Picture 1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0210" y="4359761"/>
            <a:ext cx="113898" cy="118251"/>
          </a:xfrm>
          <a:prstGeom prst="rect">
            <a:avLst/>
          </a:prstGeom>
        </p:spPr>
      </p:pic>
      <p:pic>
        <p:nvPicPr>
          <p:cNvPr id="112" name="Picture 1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7944" y="4359761"/>
            <a:ext cx="113898" cy="118251"/>
          </a:xfrm>
          <a:prstGeom prst="rect">
            <a:avLst/>
          </a:prstGeom>
        </p:spPr>
      </p:pic>
      <p:pic>
        <p:nvPicPr>
          <p:cNvPr id="113" name="Picture 1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03010" y="4359761"/>
            <a:ext cx="113898" cy="118251"/>
          </a:xfrm>
          <a:prstGeom prst="rect">
            <a:avLst/>
          </a:prstGeom>
        </p:spPr>
      </p:pic>
      <p:pic>
        <p:nvPicPr>
          <p:cNvPr id="114" name="Picture 1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7743" y="4359761"/>
            <a:ext cx="113898" cy="118251"/>
          </a:xfrm>
          <a:prstGeom prst="rect">
            <a:avLst/>
          </a:prstGeom>
        </p:spPr>
      </p:pic>
      <p:sp>
        <p:nvSpPr>
          <p:cNvPr id="115" name="Rectangle 114"/>
          <p:cNvSpPr/>
          <p:nvPr/>
        </p:nvSpPr>
        <p:spPr>
          <a:xfrm>
            <a:off x="1084218" y="2129962"/>
            <a:ext cx="1981200" cy="86868"/>
          </a:xfrm>
          <a:prstGeom prst="rect">
            <a:avLst/>
          </a:prstGeom>
          <a:solidFill>
            <a:srgbClr val="1F3B9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1087953" y="2754525"/>
            <a:ext cx="7954932" cy="91440"/>
            <a:chOff x="841935" y="1977116"/>
            <a:chExt cx="7954932" cy="91440"/>
          </a:xfrm>
        </p:grpSpPr>
        <p:sp>
          <p:nvSpPr>
            <p:cNvPr id="117" name="Rectangle 116"/>
            <p:cNvSpPr/>
            <p:nvPr/>
          </p:nvSpPr>
          <p:spPr>
            <a:xfrm>
              <a:off x="1490133" y="1977116"/>
              <a:ext cx="7306734" cy="86868"/>
            </a:xfrm>
            <a:prstGeom prst="rect">
              <a:avLst/>
            </a:prstGeom>
            <a:solidFill>
              <a:srgbClr val="1F3B92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841935" y="1977116"/>
              <a:ext cx="642438" cy="91440"/>
            </a:xfrm>
            <a:prstGeom prst="rect">
              <a:avLst/>
            </a:prstGeom>
            <a:pattFill prst="wdDnDiag">
              <a:fgClr>
                <a:sysClr val="window" lastClr="FFFFFF">
                  <a:lumMod val="85000"/>
                </a:sysClr>
              </a:fgClr>
              <a:bgClr>
                <a:sysClr val="window" lastClr="FFFFFF">
                  <a:lumMod val="95000"/>
                </a:sysClr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9" name="Rectangle 118"/>
          <p:cNvSpPr/>
          <p:nvPr/>
        </p:nvSpPr>
        <p:spPr>
          <a:xfrm>
            <a:off x="1998618" y="3486745"/>
            <a:ext cx="7044267" cy="78252"/>
          </a:xfrm>
          <a:prstGeom prst="rect">
            <a:avLst/>
          </a:prstGeom>
          <a:solidFill>
            <a:srgbClr val="1F3B9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1087953" y="3476161"/>
            <a:ext cx="986865" cy="91440"/>
          </a:xfrm>
          <a:prstGeom prst="rect">
            <a:avLst/>
          </a:prstGeom>
          <a:pattFill prst="wdDnDiag">
            <a:fgClr>
              <a:sysClr val="window" lastClr="FFFFFF">
                <a:lumMod val="85000"/>
              </a:sysClr>
            </a:fgClr>
            <a:bgClr>
              <a:sysClr val="window" lastClr="FFFFFF">
                <a:lumMod val="95000"/>
              </a:sysClr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1998618" y="4054012"/>
            <a:ext cx="7044267" cy="78252"/>
          </a:xfrm>
          <a:prstGeom prst="rect">
            <a:avLst/>
          </a:prstGeom>
          <a:solidFill>
            <a:srgbClr val="1F3B9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1087953" y="4043428"/>
            <a:ext cx="986865" cy="91440"/>
          </a:xfrm>
          <a:prstGeom prst="rect">
            <a:avLst/>
          </a:prstGeom>
          <a:pattFill prst="wdDnDiag">
            <a:fgClr>
              <a:sysClr val="window" lastClr="FFFFFF">
                <a:lumMod val="85000"/>
              </a:sysClr>
            </a:fgClr>
            <a:bgClr>
              <a:sysClr val="window" lastClr="FFFFFF">
                <a:lumMod val="95000"/>
              </a:sysClr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3" name="Rectangle 122"/>
          <p:cNvSpPr/>
          <p:nvPr/>
        </p:nvSpPr>
        <p:spPr>
          <a:xfrm>
            <a:off x="1998618" y="4756744"/>
            <a:ext cx="7044267" cy="78252"/>
          </a:xfrm>
          <a:prstGeom prst="rect">
            <a:avLst/>
          </a:prstGeom>
          <a:solidFill>
            <a:srgbClr val="1F3B9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4" name="Rectangle 123"/>
          <p:cNvSpPr/>
          <p:nvPr/>
        </p:nvSpPr>
        <p:spPr>
          <a:xfrm>
            <a:off x="1087953" y="4746160"/>
            <a:ext cx="986865" cy="91440"/>
          </a:xfrm>
          <a:prstGeom prst="rect">
            <a:avLst/>
          </a:prstGeom>
          <a:pattFill prst="wdDnDiag">
            <a:fgClr>
              <a:sysClr val="window" lastClr="FFFFFF">
                <a:lumMod val="85000"/>
              </a:sysClr>
            </a:fgClr>
            <a:bgClr>
              <a:sysClr val="window" lastClr="FFFFFF">
                <a:lumMod val="95000"/>
              </a:sysClr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5" name="Rectangle 124"/>
          <p:cNvSpPr/>
          <p:nvPr/>
        </p:nvSpPr>
        <p:spPr>
          <a:xfrm>
            <a:off x="2071532" y="4805423"/>
            <a:ext cx="1194622" cy="253916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85CC"/>
                </a:solidFill>
                <a:latin typeface="Calibri"/>
                <a:cs typeface="+mn-cs"/>
              </a:rPr>
              <a:t>Test Automation</a:t>
            </a:r>
          </a:p>
        </p:txBody>
      </p:sp>
      <p:pic>
        <p:nvPicPr>
          <p:cNvPr id="126" name="Picture 1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0210" y="5054027"/>
            <a:ext cx="113898" cy="118251"/>
          </a:xfrm>
          <a:prstGeom prst="rect">
            <a:avLst/>
          </a:prstGeom>
        </p:spPr>
      </p:pic>
      <p:pic>
        <p:nvPicPr>
          <p:cNvPr id="127" name="Picture 1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2210" y="5054027"/>
            <a:ext cx="113898" cy="118251"/>
          </a:xfrm>
          <a:prstGeom prst="rect">
            <a:avLst/>
          </a:prstGeom>
        </p:spPr>
      </p:pic>
      <p:pic>
        <p:nvPicPr>
          <p:cNvPr id="128" name="Picture 1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61143" y="5054027"/>
            <a:ext cx="113898" cy="118251"/>
          </a:xfrm>
          <a:prstGeom prst="rect">
            <a:avLst/>
          </a:prstGeom>
        </p:spPr>
      </p:pic>
      <p:pic>
        <p:nvPicPr>
          <p:cNvPr id="129" name="Picture 1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5943" y="5054027"/>
            <a:ext cx="113898" cy="118251"/>
          </a:xfrm>
          <a:prstGeom prst="rect">
            <a:avLst/>
          </a:prstGeom>
        </p:spPr>
      </p:pic>
      <p:sp>
        <p:nvSpPr>
          <p:cNvPr id="130" name="Rectangle 129"/>
          <p:cNvSpPr/>
          <p:nvPr/>
        </p:nvSpPr>
        <p:spPr>
          <a:xfrm>
            <a:off x="1998618" y="5340943"/>
            <a:ext cx="7044267" cy="78252"/>
          </a:xfrm>
          <a:prstGeom prst="rect">
            <a:avLst/>
          </a:prstGeom>
          <a:solidFill>
            <a:srgbClr val="1F3B9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1" name="Rectangle 130"/>
          <p:cNvSpPr/>
          <p:nvPr/>
        </p:nvSpPr>
        <p:spPr>
          <a:xfrm>
            <a:off x="1087953" y="5330359"/>
            <a:ext cx="986865" cy="91440"/>
          </a:xfrm>
          <a:prstGeom prst="rect">
            <a:avLst/>
          </a:prstGeom>
          <a:pattFill prst="wdDnDiag">
            <a:fgClr>
              <a:sysClr val="window" lastClr="FFFFFF">
                <a:lumMod val="85000"/>
              </a:sysClr>
            </a:fgClr>
            <a:bgClr>
              <a:sysClr val="window" lastClr="FFFFFF">
                <a:lumMod val="95000"/>
              </a:sysClr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2071531" y="5406556"/>
            <a:ext cx="1494255" cy="253916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85CC"/>
                </a:solidFill>
                <a:latin typeface="Calibri"/>
                <a:cs typeface="+mn-cs"/>
              </a:rPr>
              <a:t>Service Virtualization</a:t>
            </a:r>
          </a:p>
        </p:txBody>
      </p:sp>
      <p:pic>
        <p:nvPicPr>
          <p:cNvPr id="133" name="Picture 1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0210" y="5655160"/>
            <a:ext cx="113898" cy="118251"/>
          </a:xfrm>
          <a:prstGeom prst="rect">
            <a:avLst/>
          </a:prstGeom>
        </p:spPr>
      </p:pic>
      <p:pic>
        <p:nvPicPr>
          <p:cNvPr id="134" name="Picture 1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8262" y="5655160"/>
            <a:ext cx="113898" cy="118251"/>
          </a:xfrm>
          <a:prstGeom prst="rect">
            <a:avLst/>
          </a:prstGeom>
        </p:spPr>
      </p:pic>
      <p:grpSp>
        <p:nvGrpSpPr>
          <p:cNvPr id="135" name="Group 134"/>
          <p:cNvGrpSpPr/>
          <p:nvPr/>
        </p:nvGrpSpPr>
        <p:grpSpPr>
          <a:xfrm>
            <a:off x="7424944" y="5655160"/>
            <a:ext cx="113898" cy="245251"/>
            <a:chOff x="7161992" y="4581411"/>
            <a:chExt cx="113898" cy="245251"/>
          </a:xfrm>
        </p:grpSpPr>
        <p:pic>
          <p:nvPicPr>
            <p:cNvPr id="136" name="Picture 13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161992" y="4581411"/>
              <a:ext cx="113898" cy="118251"/>
            </a:xfrm>
            <a:prstGeom prst="rect">
              <a:avLst/>
            </a:prstGeom>
          </p:spPr>
        </p:pic>
        <p:pic>
          <p:nvPicPr>
            <p:cNvPr id="137" name="Picture 13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161992" y="4708411"/>
              <a:ext cx="113898" cy="118251"/>
            </a:xfrm>
            <a:prstGeom prst="rect">
              <a:avLst/>
            </a:prstGeom>
          </p:spPr>
        </p:pic>
      </p:grpSp>
      <p:grpSp>
        <p:nvGrpSpPr>
          <p:cNvPr id="138" name="Group 137"/>
          <p:cNvGrpSpPr/>
          <p:nvPr/>
        </p:nvGrpSpPr>
        <p:grpSpPr>
          <a:xfrm>
            <a:off x="5684396" y="5655160"/>
            <a:ext cx="113898" cy="245251"/>
            <a:chOff x="7161992" y="4581411"/>
            <a:chExt cx="113898" cy="245251"/>
          </a:xfrm>
        </p:grpSpPr>
        <p:pic>
          <p:nvPicPr>
            <p:cNvPr id="139" name="Picture 13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161992" y="4581411"/>
              <a:ext cx="113898" cy="118251"/>
            </a:xfrm>
            <a:prstGeom prst="rect">
              <a:avLst/>
            </a:prstGeom>
          </p:spPr>
        </p:pic>
        <p:pic>
          <p:nvPicPr>
            <p:cNvPr id="140" name="Picture 13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161992" y="4708411"/>
              <a:ext cx="113898" cy="118251"/>
            </a:xfrm>
            <a:prstGeom prst="rect">
              <a:avLst/>
            </a:prstGeom>
          </p:spPr>
        </p:pic>
      </p:grp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1263128910"/>
              </p:ext>
            </p:extLst>
          </p:nvPr>
        </p:nvGraphicFramePr>
        <p:xfrm>
          <a:off x="1066803" y="813840"/>
          <a:ext cx="8228177" cy="4874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90" name="Table 8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8568282"/>
              </p:ext>
            </p:extLst>
          </p:nvPr>
        </p:nvGraphicFramePr>
        <p:xfrm>
          <a:off x="1071824" y="1865832"/>
          <a:ext cx="7960752" cy="215586"/>
        </p:xfrm>
        <a:graphic>
          <a:graphicData uri="http://schemas.openxmlformats.org/drawingml/2006/table">
            <a:tbl>
              <a:tblPr/>
              <a:tblGrid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</a:tblGrid>
              <a:tr h="2155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0" dirty="0" err="1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Wk</a:t>
                      </a:r>
                      <a:r>
                        <a:rPr lang="en-US" sz="1000" b="0" dirty="0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1</a:t>
                      </a:r>
                      <a:endParaRPr lang="en-US" sz="1000" b="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0" dirty="0" err="1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Wk</a:t>
                      </a:r>
                      <a:r>
                        <a:rPr lang="en-US" sz="1000" b="0" dirty="0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2</a:t>
                      </a:r>
                      <a:endParaRPr lang="en-US" sz="1000" b="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0" dirty="0" err="1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Wk</a:t>
                      </a:r>
                      <a:r>
                        <a:rPr lang="en-US" sz="1000" b="0" dirty="0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3</a:t>
                      </a:r>
                      <a:endParaRPr lang="en-US" sz="1000" b="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0" dirty="0" err="1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Wk</a:t>
                      </a:r>
                      <a:r>
                        <a:rPr lang="en-US" sz="1000" b="0" dirty="0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4</a:t>
                      </a:r>
                      <a:endParaRPr lang="en-US" sz="1000" b="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0" dirty="0" err="1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Wk</a:t>
                      </a:r>
                      <a:r>
                        <a:rPr lang="en-US" sz="1000" b="0" dirty="0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5</a:t>
                      </a:r>
                      <a:endParaRPr lang="en-US" sz="1000" b="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0" dirty="0" err="1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Wk</a:t>
                      </a:r>
                      <a:r>
                        <a:rPr lang="en-US" sz="1000" b="0" dirty="0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6</a:t>
                      </a:r>
                      <a:endParaRPr lang="en-US" sz="1000" b="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0" dirty="0" err="1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Wk</a:t>
                      </a:r>
                      <a:r>
                        <a:rPr lang="en-US" sz="1000" b="0" dirty="0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7</a:t>
                      </a:r>
                      <a:endParaRPr lang="en-US" sz="1000" b="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0" dirty="0" err="1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Wk</a:t>
                      </a:r>
                      <a:r>
                        <a:rPr lang="en-US" sz="1000" b="0" dirty="0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8</a:t>
                      </a:r>
                      <a:endParaRPr lang="en-US" sz="1000" b="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0" dirty="0" err="1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Wk</a:t>
                      </a:r>
                      <a:r>
                        <a:rPr lang="en-US" sz="1000" b="0" dirty="0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9</a:t>
                      </a:r>
                      <a:endParaRPr lang="en-US" sz="1000" b="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0" dirty="0" err="1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Wk</a:t>
                      </a:r>
                      <a:r>
                        <a:rPr lang="en-US" sz="1000" b="0" dirty="0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10</a:t>
                      </a:r>
                      <a:endParaRPr lang="en-US" sz="1000" b="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0" dirty="0" err="1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Wk</a:t>
                      </a:r>
                      <a:r>
                        <a:rPr lang="en-US" sz="1000" b="0" dirty="0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11</a:t>
                      </a:r>
                      <a:endParaRPr lang="en-US" sz="1000" b="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0" dirty="0" err="1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Wk</a:t>
                      </a:r>
                      <a:r>
                        <a:rPr lang="en-US" sz="1000" b="0" baseline="0" dirty="0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12</a:t>
                      </a:r>
                      <a:endParaRPr lang="en-US" sz="1000" b="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</a:tr>
            </a:tbl>
          </a:graphicData>
        </a:graphic>
      </p:graphicFrame>
      <p:sp>
        <p:nvSpPr>
          <p:cNvPr id="142" name="Rectangle 141"/>
          <p:cNvSpPr/>
          <p:nvPr/>
        </p:nvSpPr>
        <p:spPr bwMode="auto">
          <a:xfrm>
            <a:off x="409170" y="6089302"/>
            <a:ext cx="9125312" cy="52621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400" i="1" dirty="0" smtClean="0">
                <a:solidFill>
                  <a:schemeClr val="bg1"/>
                </a:solidFill>
              </a:rPr>
              <a:t>The wave approach of delivering DevOps change transformation starts with a Pilot (Wave 1) of 12 weeks with an objective to build Platform Foundation and </a:t>
            </a:r>
            <a:r>
              <a:rPr lang="en-GB" sz="1400" i="1" dirty="0" err="1" smtClean="0">
                <a:solidFill>
                  <a:schemeClr val="bg1"/>
                </a:solidFill>
              </a:rPr>
              <a:t>onboard</a:t>
            </a:r>
            <a:r>
              <a:rPr lang="en-GB" sz="1400" i="1" dirty="0" smtClean="0">
                <a:solidFill>
                  <a:schemeClr val="bg1"/>
                </a:solidFill>
              </a:rPr>
              <a:t> 10 applications for early adoption</a:t>
            </a:r>
            <a:endParaRPr lang="en-GB" sz="14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76838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nip Single Corner Rectangle 2"/>
          <p:cNvSpPr/>
          <p:nvPr/>
        </p:nvSpPr>
        <p:spPr bwMode="auto">
          <a:xfrm>
            <a:off x="1091187" y="1275363"/>
            <a:ext cx="7951698" cy="578905"/>
          </a:xfrm>
          <a:custGeom>
            <a:avLst/>
            <a:gdLst>
              <a:gd name="connsiteX0" fmla="*/ 0 w 4337407"/>
              <a:gd name="connsiteY0" fmla="*/ 0 h 792516"/>
              <a:gd name="connsiteX1" fmla="*/ 4205318 w 4337407"/>
              <a:gd name="connsiteY1" fmla="*/ 0 h 792516"/>
              <a:gd name="connsiteX2" fmla="*/ 4337407 w 4337407"/>
              <a:gd name="connsiteY2" fmla="*/ 132089 h 792516"/>
              <a:gd name="connsiteX3" fmla="*/ 4337407 w 4337407"/>
              <a:gd name="connsiteY3" fmla="*/ 792516 h 792516"/>
              <a:gd name="connsiteX4" fmla="*/ 0 w 4337407"/>
              <a:gd name="connsiteY4" fmla="*/ 792516 h 792516"/>
              <a:gd name="connsiteX5" fmla="*/ 0 w 4337407"/>
              <a:gd name="connsiteY5" fmla="*/ 0 h 792516"/>
              <a:gd name="connsiteX0" fmla="*/ 0 w 4349933"/>
              <a:gd name="connsiteY0" fmla="*/ 0 h 792516"/>
              <a:gd name="connsiteX1" fmla="*/ 4205318 w 4349933"/>
              <a:gd name="connsiteY1" fmla="*/ 0 h 792516"/>
              <a:gd name="connsiteX2" fmla="*/ 4349933 w 4349933"/>
              <a:gd name="connsiteY2" fmla="*/ 770916 h 792516"/>
              <a:gd name="connsiteX3" fmla="*/ 4337407 w 4349933"/>
              <a:gd name="connsiteY3" fmla="*/ 792516 h 792516"/>
              <a:gd name="connsiteX4" fmla="*/ 0 w 4349933"/>
              <a:gd name="connsiteY4" fmla="*/ 792516 h 792516"/>
              <a:gd name="connsiteX5" fmla="*/ 0 w 4349933"/>
              <a:gd name="connsiteY5" fmla="*/ 0 h 792516"/>
              <a:gd name="connsiteX0" fmla="*/ 0 w 4349933"/>
              <a:gd name="connsiteY0" fmla="*/ 0 h 792516"/>
              <a:gd name="connsiteX1" fmla="*/ 1700112 w 4349933"/>
              <a:gd name="connsiteY1" fmla="*/ 0 h 792516"/>
              <a:gd name="connsiteX2" fmla="*/ 4349933 w 4349933"/>
              <a:gd name="connsiteY2" fmla="*/ 770916 h 792516"/>
              <a:gd name="connsiteX3" fmla="*/ 4337407 w 4349933"/>
              <a:gd name="connsiteY3" fmla="*/ 792516 h 792516"/>
              <a:gd name="connsiteX4" fmla="*/ 0 w 4349933"/>
              <a:gd name="connsiteY4" fmla="*/ 792516 h 792516"/>
              <a:gd name="connsiteX5" fmla="*/ 0 w 4349933"/>
              <a:gd name="connsiteY5" fmla="*/ 0 h 792516"/>
              <a:gd name="connsiteX0" fmla="*/ 0 w 4349933"/>
              <a:gd name="connsiteY0" fmla="*/ 0 h 792516"/>
              <a:gd name="connsiteX1" fmla="*/ 1055997 w 4349933"/>
              <a:gd name="connsiteY1" fmla="*/ 12526 h 792516"/>
              <a:gd name="connsiteX2" fmla="*/ 4349933 w 4349933"/>
              <a:gd name="connsiteY2" fmla="*/ 770916 h 792516"/>
              <a:gd name="connsiteX3" fmla="*/ 4337407 w 4349933"/>
              <a:gd name="connsiteY3" fmla="*/ 792516 h 792516"/>
              <a:gd name="connsiteX4" fmla="*/ 0 w 4349933"/>
              <a:gd name="connsiteY4" fmla="*/ 792516 h 792516"/>
              <a:gd name="connsiteX5" fmla="*/ 0 w 4349933"/>
              <a:gd name="connsiteY5" fmla="*/ 0 h 792516"/>
              <a:gd name="connsiteX0" fmla="*/ 0 w 4349933"/>
              <a:gd name="connsiteY0" fmla="*/ 12526 h 805042"/>
              <a:gd name="connsiteX1" fmla="*/ 1042293 w 4349933"/>
              <a:gd name="connsiteY1" fmla="*/ 0 h 805042"/>
              <a:gd name="connsiteX2" fmla="*/ 4349933 w 4349933"/>
              <a:gd name="connsiteY2" fmla="*/ 783442 h 805042"/>
              <a:gd name="connsiteX3" fmla="*/ 4337407 w 4349933"/>
              <a:gd name="connsiteY3" fmla="*/ 805042 h 805042"/>
              <a:gd name="connsiteX4" fmla="*/ 0 w 4349933"/>
              <a:gd name="connsiteY4" fmla="*/ 805042 h 805042"/>
              <a:gd name="connsiteX5" fmla="*/ 0 w 4349933"/>
              <a:gd name="connsiteY5" fmla="*/ 12526 h 805042"/>
              <a:gd name="connsiteX0" fmla="*/ 13705 w 4349933"/>
              <a:gd name="connsiteY0" fmla="*/ 0 h 805042"/>
              <a:gd name="connsiteX1" fmla="*/ 1042293 w 4349933"/>
              <a:gd name="connsiteY1" fmla="*/ 0 h 805042"/>
              <a:gd name="connsiteX2" fmla="*/ 4349933 w 4349933"/>
              <a:gd name="connsiteY2" fmla="*/ 783442 h 805042"/>
              <a:gd name="connsiteX3" fmla="*/ 4337407 w 4349933"/>
              <a:gd name="connsiteY3" fmla="*/ 805042 h 805042"/>
              <a:gd name="connsiteX4" fmla="*/ 0 w 4349933"/>
              <a:gd name="connsiteY4" fmla="*/ 805042 h 805042"/>
              <a:gd name="connsiteX5" fmla="*/ 13705 w 4349933"/>
              <a:gd name="connsiteY5" fmla="*/ 0 h 805042"/>
              <a:gd name="connsiteX0" fmla="*/ 6853 w 4349933"/>
              <a:gd name="connsiteY0" fmla="*/ 0 h 805042"/>
              <a:gd name="connsiteX1" fmla="*/ 1042293 w 4349933"/>
              <a:gd name="connsiteY1" fmla="*/ 0 h 805042"/>
              <a:gd name="connsiteX2" fmla="*/ 4349933 w 4349933"/>
              <a:gd name="connsiteY2" fmla="*/ 783442 h 805042"/>
              <a:gd name="connsiteX3" fmla="*/ 4337407 w 4349933"/>
              <a:gd name="connsiteY3" fmla="*/ 805042 h 805042"/>
              <a:gd name="connsiteX4" fmla="*/ 0 w 4349933"/>
              <a:gd name="connsiteY4" fmla="*/ 805042 h 805042"/>
              <a:gd name="connsiteX5" fmla="*/ 6853 w 4349933"/>
              <a:gd name="connsiteY5" fmla="*/ 0 h 805042"/>
              <a:gd name="connsiteX0" fmla="*/ 6853 w 4349933"/>
              <a:gd name="connsiteY0" fmla="*/ 0 h 805042"/>
              <a:gd name="connsiteX1" fmla="*/ 1028588 w 4349933"/>
              <a:gd name="connsiteY1" fmla="*/ 0 h 805042"/>
              <a:gd name="connsiteX2" fmla="*/ 4349933 w 4349933"/>
              <a:gd name="connsiteY2" fmla="*/ 783442 h 805042"/>
              <a:gd name="connsiteX3" fmla="*/ 4337407 w 4349933"/>
              <a:gd name="connsiteY3" fmla="*/ 805042 h 805042"/>
              <a:gd name="connsiteX4" fmla="*/ 0 w 4349933"/>
              <a:gd name="connsiteY4" fmla="*/ 805042 h 805042"/>
              <a:gd name="connsiteX5" fmla="*/ 6853 w 4349933"/>
              <a:gd name="connsiteY5" fmla="*/ 0 h 805042"/>
              <a:gd name="connsiteX0" fmla="*/ 659 w 4350591"/>
              <a:gd name="connsiteY0" fmla="*/ 0 h 805042"/>
              <a:gd name="connsiteX1" fmla="*/ 1029246 w 4350591"/>
              <a:gd name="connsiteY1" fmla="*/ 0 h 805042"/>
              <a:gd name="connsiteX2" fmla="*/ 4350591 w 4350591"/>
              <a:gd name="connsiteY2" fmla="*/ 783442 h 805042"/>
              <a:gd name="connsiteX3" fmla="*/ 4338065 w 4350591"/>
              <a:gd name="connsiteY3" fmla="*/ 805042 h 805042"/>
              <a:gd name="connsiteX4" fmla="*/ 658 w 4350591"/>
              <a:gd name="connsiteY4" fmla="*/ 805042 h 805042"/>
              <a:gd name="connsiteX5" fmla="*/ 659 w 4350591"/>
              <a:gd name="connsiteY5" fmla="*/ 0 h 805042"/>
              <a:gd name="connsiteX0" fmla="*/ 659 w 4350591"/>
              <a:gd name="connsiteY0" fmla="*/ 250521 h 805042"/>
              <a:gd name="connsiteX1" fmla="*/ 1029246 w 4350591"/>
              <a:gd name="connsiteY1" fmla="*/ 0 h 805042"/>
              <a:gd name="connsiteX2" fmla="*/ 4350591 w 4350591"/>
              <a:gd name="connsiteY2" fmla="*/ 783442 h 805042"/>
              <a:gd name="connsiteX3" fmla="*/ 4338065 w 4350591"/>
              <a:gd name="connsiteY3" fmla="*/ 805042 h 805042"/>
              <a:gd name="connsiteX4" fmla="*/ 658 w 4350591"/>
              <a:gd name="connsiteY4" fmla="*/ 805042 h 805042"/>
              <a:gd name="connsiteX5" fmla="*/ 659 w 4350591"/>
              <a:gd name="connsiteY5" fmla="*/ 250521 h 805042"/>
              <a:gd name="connsiteX0" fmla="*/ 659 w 4350591"/>
              <a:gd name="connsiteY0" fmla="*/ 0 h 554521"/>
              <a:gd name="connsiteX1" fmla="*/ 1022394 w 4350591"/>
              <a:gd name="connsiteY1" fmla="*/ 12526 h 554521"/>
              <a:gd name="connsiteX2" fmla="*/ 4350591 w 4350591"/>
              <a:gd name="connsiteY2" fmla="*/ 532921 h 554521"/>
              <a:gd name="connsiteX3" fmla="*/ 4338065 w 4350591"/>
              <a:gd name="connsiteY3" fmla="*/ 554521 h 554521"/>
              <a:gd name="connsiteX4" fmla="*/ 658 w 4350591"/>
              <a:gd name="connsiteY4" fmla="*/ 554521 h 554521"/>
              <a:gd name="connsiteX5" fmla="*/ 659 w 4350591"/>
              <a:gd name="connsiteY5" fmla="*/ 0 h 554521"/>
              <a:gd name="connsiteX0" fmla="*/ 659 w 4350591"/>
              <a:gd name="connsiteY0" fmla="*/ 11858 h 566379"/>
              <a:gd name="connsiteX1" fmla="*/ 2116203 w 4350591"/>
              <a:gd name="connsiteY1" fmla="*/ 0 h 566379"/>
              <a:gd name="connsiteX2" fmla="*/ 4350591 w 4350591"/>
              <a:gd name="connsiteY2" fmla="*/ 544779 h 566379"/>
              <a:gd name="connsiteX3" fmla="*/ 4338065 w 4350591"/>
              <a:gd name="connsiteY3" fmla="*/ 566379 h 566379"/>
              <a:gd name="connsiteX4" fmla="*/ 658 w 4350591"/>
              <a:gd name="connsiteY4" fmla="*/ 566379 h 566379"/>
              <a:gd name="connsiteX5" fmla="*/ 659 w 4350591"/>
              <a:gd name="connsiteY5" fmla="*/ 11858 h 566379"/>
              <a:gd name="connsiteX0" fmla="*/ 659 w 4350591"/>
              <a:gd name="connsiteY0" fmla="*/ 11858 h 566379"/>
              <a:gd name="connsiteX1" fmla="*/ 2116203 w 4350591"/>
              <a:gd name="connsiteY1" fmla="*/ 0 h 566379"/>
              <a:gd name="connsiteX2" fmla="*/ 4350591 w 4350591"/>
              <a:gd name="connsiteY2" fmla="*/ 544779 h 566379"/>
              <a:gd name="connsiteX3" fmla="*/ 4338065 w 4350591"/>
              <a:gd name="connsiteY3" fmla="*/ 566379 h 566379"/>
              <a:gd name="connsiteX4" fmla="*/ 658 w 4350591"/>
              <a:gd name="connsiteY4" fmla="*/ 566379 h 566379"/>
              <a:gd name="connsiteX5" fmla="*/ 659 w 4350591"/>
              <a:gd name="connsiteY5" fmla="*/ 11858 h 566379"/>
              <a:gd name="connsiteX0" fmla="*/ 1040454 w 4349933"/>
              <a:gd name="connsiteY0" fmla="*/ 0 h 578905"/>
              <a:gd name="connsiteX1" fmla="*/ 2115545 w 4349933"/>
              <a:gd name="connsiteY1" fmla="*/ 12526 h 578905"/>
              <a:gd name="connsiteX2" fmla="*/ 4349933 w 4349933"/>
              <a:gd name="connsiteY2" fmla="*/ 557305 h 578905"/>
              <a:gd name="connsiteX3" fmla="*/ 4337407 w 4349933"/>
              <a:gd name="connsiteY3" fmla="*/ 578905 h 578905"/>
              <a:gd name="connsiteX4" fmla="*/ 0 w 4349933"/>
              <a:gd name="connsiteY4" fmla="*/ 578905 h 578905"/>
              <a:gd name="connsiteX5" fmla="*/ 1040454 w 4349933"/>
              <a:gd name="connsiteY5" fmla="*/ 0 h 578905"/>
              <a:gd name="connsiteX0" fmla="*/ 1040454 w 4349933"/>
              <a:gd name="connsiteY0" fmla="*/ 0 h 578905"/>
              <a:gd name="connsiteX1" fmla="*/ 2115545 w 4349933"/>
              <a:gd name="connsiteY1" fmla="*/ 12526 h 578905"/>
              <a:gd name="connsiteX2" fmla="*/ 4349933 w 4349933"/>
              <a:gd name="connsiteY2" fmla="*/ 557305 h 578905"/>
              <a:gd name="connsiteX3" fmla="*/ 4337407 w 4349933"/>
              <a:gd name="connsiteY3" fmla="*/ 578905 h 578905"/>
              <a:gd name="connsiteX4" fmla="*/ 0 w 4349933"/>
              <a:gd name="connsiteY4" fmla="*/ 578905 h 578905"/>
              <a:gd name="connsiteX5" fmla="*/ 1040454 w 4349933"/>
              <a:gd name="connsiteY5" fmla="*/ 0 h 578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49933" h="578905">
                <a:moveTo>
                  <a:pt x="1040454" y="0"/>
                </a:moveTo>
                <a:lnTo>
                  <a:pt x="2115545" y="12526"/>
                </a:lnTo>
                <a:lnTo>
                  <a:pt x="4349933" y="557305"/>
                </a:lnTo>
                <a:lnTo>
                  <a:pt x="4337407" y="578905"/>
                </a:lnTo>
                <a:lnTo>
                  <a:pt x="0" y="578905"/>
                </a:lnTo>
                <a:cubicBezTo>
                  <a:pt x="2284" y="310558"/>
                  <a:pt x="-15621" y="573147"/>
                  <a:pt x="1040454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200" i="1" dirty="0" smtClean="0"/>
              <a:t>          		</a:t>
            </a:r>
            <a:endParaRPr lang="en-US" i="1" dirty="0"/>
          </a:p>
        </p:txBody>
      </p:sp>
      <p:sp>
        <p:nvSpPr>
          <p:cNvPr id="160" name="Rectangle 2"/>
          <p:cNvSpPr>
            <a:spLocks noChangeArrowheads="1"/>
          </p:cNvSpPr>
          <p:nvPr/>
        </p:nvSpPr>
        <p:spPr bwMode="auto">
          <a:xfrm>
            <a:off x="2650156" y="188915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GB" sz="2400" b="0" dirty="0" smtClean="0">
                <a:solidFill>
                  <a:schemeClr val="tx2"/>
                </a:solidFill>
              </a:rPr>
              <a:t>High Level Plan</a:t>
            </a:r>
            <a:endParaRPr lang="en-US" sz="2400" b="0" dirty="0">
              <a:solidFill>
                <a:schemeClr val="tx2"/>
              </a:solidFill>
            </a:endParaRPr>
          </a:p>
        </p:txBody>
      </p:sp>
      <p:graphicFrame>
        <p:nvGraphicFramePr>
          <p:cNvPr id="72" name="Table 71"/>
          <p:cNvGraphicFramePr>
            <a:graphicFrameLocks noGrp="1"/>
          </p:cNvGraphicFramePr>
          <p:nvPr>
            <p:extLst/>
          </p:nvPr>
        </p:nvGraphicFramePr>
        <p:xfrm>
          <a:off x="415352" y="2106682"/>
          <a:ext cx="8624148" cy="3567767"/>
        </p:xfrm>
        <a:graphic>
          <a:graphicData uri="http://schemas.openxmlformats.org/drawingml/2006/table">
            <a:tbl>
              <a:tblPr/>
              <a:tblGrid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</a:tblGrid>
              <a:tr h="35677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 dirty="0"/>
                    </a:p>
                  </a:txBody>
                  <a:tcPr marR="93585" marT="0" marB="27432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 dirty="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 dirty="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 dirty="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 dirty="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 dirty="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2400" dirty="0"/>
                    </a:p>
                  </a:txBody>
                  <a:tcPr marR="93585" marT="0" marB="27432" anchor="ctr">
                    <a:lnL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prstClr val="white">
                          <a:lumMod val="9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3" name="Rectangle 72"/>
          <p:cNvSpPr/>
          <p:nvPr/>
        </p:nvSpPr>
        <p:spPr>
          <a:xfrm>
            <a:off x="1022473" y="2189229"/>
            <a:ext cx="1566198" cy="253916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85CC"/>
                </a:solidFill>
                <a:latin typeface="Calibri"/>
                <a:cs typeface="+mn-cs"/>
              </a:rPr>
              <a:t>Scoping &amp; Assessment</a:t>
            </a:r>
            <a:endParaRPr lang="en-US" sz="1200" b="0" dirty="0">
              <a:solidFill>
                <a:srgbClr val="0085CC"/>
              </a:solidFill>
              <a:latin typeface="Calibri"/>
              <a:cs typeface="+mn-cs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1216367" y="2379395"/>
            <a:ext cx="1942183" cy="34009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rgbClr val="3C3C3C"/>
                </a:solidFill>
                <a:latin typeface="Calibri"/>
                <a:cs typeface="+mn-cs"/>
              </a:rPr>
              <a:t>Scope and objectives of the strategy</a:t>
            </a: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rgbClr val="3C3C3C"/>
                </a:solidFill>
                <a:latin typeface="Calibri"/>
                <a:cs typeface="+mn-cs"/>
              </a:rPr>
              <a:t>Program introduction and Core Team</a:t>
            </a:r>
          </a:p>
        </p:txBody>
      </p:sp>
      <p:sp>
        <p:nvSpPr>
          <p:cNvPr id="75" name="Rectangle 74"/>
          <p:cNvSpPr/>
          <p:nvPr/>
        </p:nvSpPr>
        <p:spPr>
          <a:xfrm>
            <a:off x="2269277" y="3722708"/>
            <a:ext cx="2248510" cy="315471"/>
          </a:xfrm>
          <a:prstGeom prst="rect">
            <a:avLst/>
          </a:prstGeom>
        </p:spPr>
        <p:txBody>
          <a:bodyPr wrap="square" lIns="68580" tIns="34290" rIns="68580" bIns="34290" anchor="t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Process Definition for Provisioning – Initial, intermediate and end state</a:t>
            </a:r>
          </a:p>
        </p:txBody>
      </p:sp>
      <p:sp>
        <p:nvSpPr>
          <p:cNvPr id="76" name="Rectangle 75"/>
          <p:cNvSpPr/>
          <p:nvPr/>
        </p:nvSpPr>
        <p:spPr>
          <a:xfrm>
            <a:off x="4525605" y="3722708"/>
            <a:ext cx="2054408" cy="315471"/>
          </a:xfrm>
          <a:prstGeom prst="rect">
            <a:avLst/>
          </a:prstGeom>
        </p:spPr>
        <p:txBody>
          <a:bodyPr wrap="square" lIns="68580" tIns="34290" rIns="68580" bIns="34290" anchor="t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Provisioning template design &amp; build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 1. OS   2. OS + SW   3. OS + SW + APP </a:t>
            </a:r>
          </a:p>
        </p:txBody>
      </p:sp>
      <p:sp>
        <p:nvSpPr>
          <p:cNvPr id="77" name="Rectangle 76"/>
          <p:cNvSpPr/>
          <p:nvPr/>
        </p:nvSpPr>
        <p:spPr>
          <a:xfrm>
            <a:off x="2272775" y="4300493"/>
            <a:ext cx="1292642" cy="192360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Build templates design</a:t>
            </a:r>
          </a:p>
        </p:txBody>
      </p:sp>
      <p:sp>
        <p:nvSpPr>
          <p:cNvPr id="78" name="Rectangle 77"/>
          <p:cNvSpPr/>
          <p:nvPr/>
        </p:nvSpPr>
        <p:spPr>
          <a:xfrm>
            <a:off x="3575054" y="4300495"/>
            <a:ext cx="1918826" cy="3154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Build tool integrations – Code coverage, code quality, test execution</a:t>
            </a:r>
          </a:p>
        </p:txBody>
      </p:sp>
      <p:sp>
        <p:nvSpPr>
          <p:cNvPr id="79" name="Rectangle 78"/>
          <p:cNvSpPr/>
          <p:nvPr/>
        </p:nvSpPr>
        <p:spPr>
          <a:xfrm>
            <a:off x="5591997" y="4308629"/>
            <a:ext cx="1918826" cy="43858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Build time provisioning &amp;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test execution, monitor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metrics capture &amp; report</a:t>
            </a:r>
          </a:p>
        </p:txBody>
      </p:sp>
      <p:sp>
        <p:nvSpPr>
          <p:cNvPr id="80" name="Rectangle 79"/>
          <p:cNvSpPr/>
          <p:nvPr/>
        </p:nvSpPr>
        <p:spPr>
          <a:xfrm>
            <a:off x="7054773" y="4299478"/>
            <a:ext cx="1918826" cy="3154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Build artefact upload &amp; versioning design and implementation</a:t>
            </a:r>
          </a:p>
        </p:txBody>
      </p:sp>
      <p:sp>
        <p:nvSpPr>
          <p:cNvPr id="81" name="Rectangle 80"/>
          <p:cNvSpPr/>
          <p:nvPr/>
        </p:nvSpPr>
        <p:spPr>
          <a:xfrm>
            <a:off x="2269554" y="5006156"/>
            <a:ext cx="478250" cy="192360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Tooling </a:t>
            </a:r>
          </a:p>
        </p:txBody>
      </p:sp>
      <p:sp>
        <p:nvSpPr>
          <p:cNvPr id="82" name="Rectangle 81"/>
          <p:cNvSpPr/>
          <p:nvPr/>
        </p:nvSpPr>
        <p:spPr>
          <a:xfrm>
            <a:off x="6485952" y="3722708"/>
            <a:ext cx="2054408" cy="315471"/>
          </a:xfrm>
          <a:prstGeom prst="rect">
            <a:avLst/>
          </a:prstGeom>
        </p:spPr>
        <p:txBody>
          <a:bodyPr wrap="square" lIns="68580" tIns="34290" rIns="68580" bIns="34290" anchor="t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Tool integrations – Logging, monitoring, </a:t>
            </a:r>
            <a:r>
              <a:rPr lang="en-US" sz="800" b="0" dirty="0" err="1">
                <a:solidFill>
                  <a:prstClr val="black"/>
                </a:solidFill>
                <a:latin typeface="Calibri"/>
                <a:cs typeface="+mn-cs"/>
              </a:rPr>
              <a:t>etc</a:t>
            </a:r>
            <a:endParaRPr lang="en-US" sz="800" b="0" dirty="0">
              <a:solidFill>
                <a:prstClr val="black"/>
              </a:solidFill>
              <a:latin typeface="Calibri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Feedback &amp; enhancements</a:t>
            </a:r>
          </a:p>
        </p:txBody>
      </p:sp>
      <p:sp>
        <p:nvSpPr>
          <p:cNvPr id="83" name="Rectangle 82"/>
          <p:cNvSpPr/>
          <p:nvPr/>
        </p:nvSpPr>
        <p:spPr>
          <a:xfrm>
            <a:off x="3011445" y="5015684"/>
            <a:ext cx="2197104" cy="3154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Priority for Automation of tests  smoke/regression/functional</a:t>
            </a:r>
          </a:p>
        </p:txBody>
      </p:sp>
      <p:sp>
        <p:nvSpPr>
          <p:cNvPr id="84" name="Rectangle 83"/>
          <p:cNvSpPr/>
          <p:nvPr/>
        </p:nvSpPr>
        <p:spPr>
          <a:xfrm>
            <a:off x="5053493" y="5014979"/>
            <a:ext cx="1477194" cy="3154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Tooling enablement for </a:t>
            </a:r>
            <a:r>
              <a:rPr lang="en-US" sz="800" b="0" dirty="0" err="1">
                <a:solidFill>
                  <a:prstClr val="black"/>
                </a:solidFill>
                <a:latin typeface="Calibri"/>
                <a:cs typeface="+mn-cs"/>
              </a:rPr>
              <a:t>PoC</a:t>
            </a: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 Project teams</a:t>
            </a:r>
          </a:p>
        </p:txBody>
      </p:sp>
      <p:sp>
        <p:nvSpPr>
          <p:cNvPr id="85" name="Rectangle 84"/>
          <p:cNvSpPr/>
          <p:nvPr/>
        </p:nvSpPr>
        <p:spPr>
          <a:xfrm>
            <a:off x="6637539" y="5014978"/>
            <a:ext cx="2236013" cy="3154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Integrate automation into release cycle – execution and new test case creation - Process</a:t>
            </a:r>
          </a:p>
        </p:txBody>
      </p:sp>
      <p:sp>
        <p:nvSpPr>
          <p:cNvPr id="86" name="Rectangle 85"/>
          <p:cNvSpPr/>
          <p:nvPr/>
        </p:nvSpPr>
        <p:spPr>
          <a:xfrm>
            <a:off x="2288426" y="5607295"/>
            <a:ext cx="686856" cy="3154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Tooling &amp; Prototyping </a:t>
            </a:r>
          </a:p>
        </p:txBody>
      </p:sp>
      <p:sp>
        <p:nvSpPr>
          <p:cNvPr id="87" name="Rectangle 86"/>
          <p:cNvSpPr/>
          <p:nvPr/>
        </p:nvSpPr>
        <p:spPr>
          <a:xfrm>
            <a:off x="3272323" y="5593721"/>
            <a:ext cx="2404415" cy="3154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Categorization and Identification of core backend services - Complexity, usage, integrations </a:t>
            </a:r>
          </a:p>
        </p:txBody>
      </p:sp>
      <p:sp>
        <p:nvSpPr>
          <p:cNvPr id="88" name="Rectangle 87"/>
          <p:cNvSpPr/>
          <p:nvPr/>
        </p:nvSpPr>
        <p:spPr>
          <a:xfrm>
            <a:off x="5773620" y="5607292"/>
            <a:ext cx="1482798" cy="3154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 err="1">
                <a:solidFill>
                  <a:prstClr val="black"/>
                </a:solidFill>
                <a:latin typeface="Calibri"/>
                <a:cs typeface="+mn-cs"/>
              </a:rPr>
              <a:t>Shareability</a:t>
            </a: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 across project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Version Co-Existence &amp; Data</a:t>
            </a:r>
          </a:p>
        </p:txBody>
      </p:sp>
      <p:sp>
        <p:nvSpPr>
          <p:cNvPr id="89" name="Rectangle 88"/>
          <p:cNvSpPr/>
          <p:nvPr/>
        </p:nvSpPr>
        <p:spPr>
          <a:xfrm>
            <a:off x="7536356" y="5607292"/>
            <a:ext cx="1431073" cy="3154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Common architectur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prstClr val="black"/>
                </a:solidFill>
                <a:latin typeface="Calibri"/>
                <a:cs typeface="+mn-cs"/>
              </a:rPr>
              <a:t>Service Enhancements</a:t>
            </a:r>
          </a:p>
        </p:txBody>
      </p:sp>
      <p:grpSp>
        <p:nvGrpSpPr>
          <p:cNvPr id="91" name="Group 90"/>
          <p:cNvGrpSpPr/>
          <p:nvPr/>
        </p:nvGrpSpPr>
        <p:grpSpPr>
          <a:xfrm>
            <a:off x="1091876" y="2446293"/>
            <a:ext cx="113898" cy="248328"/>
            <a:chOff x="889000" y="1615016"/>
            <a:chExt cx="169333" cy="355600"/>
          </a:xfrm>
        </p:grpSpPr>
        <p:pic>
          <p:nvPicPr>
            <p:cNvPr id="92" name="Picture 9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89000" y="1615016"/>
              <a:ext cx="169333" cy="169333"/>
            </a:xfrm>
            <a:prstGeom prst="rect">
              <a:avLst/>
            </a:prstGeom>
          </p:spPr>
        </p:pic>
        <p:pic>
          <p:nvPicPr>
            <p:cNvPr id="93" name="Picture 9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89000" y="1801283"/>
              <a:ext cx="169333" cy="169333"/>
            </a:xfrm>
            <a:prstGeom prst="rect">
              <a:avLst/>
            </a:prstGeom>
          </p:spPr>
        </p:pic>
      </p:grpSp>
      <p:sp>
        <p:nvSpPr>
          <p:cNvPr id="94" name="Rectangle 93"/>
          <p:cNvSpPr/>
          <p:nvPr/>
        </p:nvSpPr>
        <p:spPr>
          <a:xfrm>
            <a:off x="3383834" y="2379394"/>
            <a:ext cx="4575316" cy="47551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rgbClr val="3C3C3C"/>
                </a:solidFill>
                <a:latin typeface="Calibri"/>
                <a:cs typeface="+mn-cs"/>
              </a:rPr>
              <a:t>Data collection template</a:t>
            </a: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0" dirty="0" err="1">
                <a:solidFill>
                  <a:srgbClr val="3C3C3C"/>
                </a:solidFill>
                <a:latin typeface="Calibri"/>
                <a:cs typeface="+mn-cs"/>
              </a:rPr>
              <a:t>PoC</a:t>
            </a:r>
            <a:r>
              <a:rPr lang="en-US" sz="800" b="0" dirty="0">
                <a:solidFill>
                  <a:srgbClr val="3C3C3C"/>
                </a:solidFill>
                <a:latin typeface="Calibri"/>
                <a:cs typeface="+mn-cs"/>
              </a:rPr>
              <a:t> Project identified and prioritization – low risk/optimal output</a:t>
            </a: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800" b="0" dirty="0">
              <a:solidFill>
                <a:srgbClr val="3C3C3C"/>
              </a:solidFill>
              <a:latin typeface="Calibri"/>
              <a:cs typeface="+mn-cs"/>
            </a:endParaRPr>
          </a:p>
        </p:txBody>
      </p:sp>
      <p:grpSp>
        <p:nvGrpSpPr>
          <p:cNvPr id="95" name="Group 94"/>
          <p:cNvGrpSpPr/>
          <p:nvPr/>
        </p:nvGrpSpPr>
        <p:grpSpPr>
          <a:xfrm>
            <a:off x="3259343" y="2446293"/>
            <a:ext cx="113898" cy="248328"/>
            <a:chOff x="889000" y="1615016"/>
            <a:chExt cx="169333" cy="355600"/>
          </a:xfrm>
        </p:grpSpPr>
        <p:pic>
          <p:nvPicPr>
            <p:cNvPr id="96" name="Picture 9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89000" y="1615016"/>
              <a:ext cx="169333" cy="169333"/>
            </a:xfrm>
            <a:prstGeom prst="rect">
              <a:avLst/>
            </a:prstGeom>
          </p:spPr>
        </p:pic>
        <p:pic>
          <p:nvPicPr>
            <p:cNvPr id="97" name="Picture 9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89000" y="1801283"/>
              <a:ext cx="169333" cy="169333"/>
            </a:xfrm>
            <a:prstGeom prst="rect">
              <a:avLst/>
            </a:prstGeom>
          </p:spPr>
        </p:pic>
      </p:grpSp>
      <p:sp>
        <p:nvSpPr>
          <p:cNvPr id="98" name="Rectangle 97"/>
          <p:cNvSpPr/>
          <p:nvPr/>
        </p:nvSpPr>
        <p:spPr>
          <a:xfrm>
            <a:off x="1665131" y="2807292"/>
            <a:ext cx="3409910" cy="25391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85CC"/>
                </a:solidFill>
                <a:latin typeface="Calibri"/>
                <a:cs typeface="+mn-cs"/>
              </a:rPr>
              <a:t>Platform Improvements</a:t>
            </a:r>
            <a:endParaRPr lang="en-US" sz="1200" dirty="0">
              <a:solidFill>
                <a:srgbClr val="0085CC"/>
              </a:solidFill>
              <a:latin typeface="Calibri"/>
              <a:cs typeface="+mn-cs"/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1868301" y="2997457"/>
            <a:ext cx="3373052" cy="47551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rgbClr val="3C3C3C"/>
                </a:solidFill>
                <a:latin typeface="Calibri"/>
                <a:cs typeface="+mn-cs"/>
              </a:rPr>
              <a:t>Build Key enablement systems</a:t>
            </a: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rgbClr val="3C3C3C"/>
                </a:solidFill>
                <a:latin typeface="Calibri"/>
                <a:cs typeface="+mn-cs"/>
              </a:rPr>
              <a:t> - Private Cloud stack                               - JIRA/Confluence/DSL Servers/NOLIO / VTAF/KORE/ERA, JENKINS ( master/slave), NEXUS</a:t>
            </a:r>
          </a:p>
        </p:txBody>
      </p:sp>
      <p:pic>
        <p:nvPicPr>
          <p:cNvPr id="100" name="Picture 9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3810" y="3064357"/>
            <a:ext cx="113898" cy="118251"/>
          </a:xfrm>
          <a:prstGeom prst="rect">
            <a:avLst/>
          </a:prstGeom>
        </p:spPr>
      </p:pic>
      <p:sp>
        <p:nvSpPr>
          <p:cNvPr id="101" name="Rectangle 100"/>
          <p:cNvSpPr/>
          <p:nvPr/>
        </p:nvSpPr>
        <p:spPr>
          <a:xfrm>
            <a:off x="6892352" y="2997458"/>
            <a:ext cx="2057400" cy="2046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rgbClr val="3C3C3C"/>
                </a:solidFill>
                <a:latin typeface="Calibri"/>
                <a:cs typeface="+mn-cs"/>
              </a:rPr>
              <a:t>Key tech patterns for enablement </a:t>
            </a:r>
          </a:p>
        </p:txBody>
      </p:sp>
      <p:pic>
        <p:nvPicPr>
          <p:cNvPr id="102" name="Picture 10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3752" y="3064357"/>
            <a:ext cx="113898" cy="118251"/>
          </a:xfrm>
          <a:prstGeom prst="rect">
            <a:avLst/>
          </a:prstGeom>
        </p:spPr>
      </p:pic>
      <p:sp>
        <p:nvSpPr>
          <p:cNvPr id="103" name="Rectangle 102"/>
          <p:cNvSpPr/>
          <p:nvPr/>
        </p:nvSpPr>
        <p:spPr>
          <a:xfrm>
            <a:off x="5503820" y="2997458"/>
            <a:ext cx="1143000" cy="2046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rgbClr val="3C3C3C"/>
                </a:solidFill>
                <a:latin typeface="Calibri"/>
                <a:cs typeface="+mn-cs"/>
              </a:rPr>
              <a:t>Baseline OS build</a:t>
            </a:r>
          </a:p>
        </p:txBody>
      </p:sp>
      <p:pic>
        <p:nvPicPr>
          <p:cNvPr id="104" name="Picture 10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2285" y="3064357"/>
            <a:ext cx="113898" cy="118251"/>
          </a:xfrm>
          <a:prstGeom prst="rect">
            <a:avLst/>
          </a:prstGeom>
        </p:spPr>
      </p:pic>
      <p:sp>
        <p:nvSpPr>
          <p:cNvPr id="105" name="Rectangle 104"/>
          <p:cNvSpPr/>
          <p:nvPr/>
        </p:nvSpPr>
        <p:spPr>
          <a:xfrm>
            <a:off x="2071532" y="3518494"/>
            <a:ext cx="928075" cy="253916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85CC"/>
                </a:solidFill>
                <a:latin typeface="Calibri"/>
                <a:cs typeface="+mn-cs"/>
              </a:rPr>
              <a:t>Provisioning</a:t>
            </a:r>
          </a:p>
        </p:txBody>
      </p:sp>
      <p:pic>
        <p:nvPicPr>
          <p:cNvPr id="106" name="Picture 10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0210" y="3775559"/>
            <a:ext cx="113898" cy="118251"/>
          </a:xfrm>
          <a:prstGeom prst="rect">
            <a:avLst/>
          </a:prstGeom>
        </p:spPr>
      </p:pic>
      <p:pic>
        <p:nvPicPr>
          <p:cNvPr id="107" name="Picture 10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02343" y="3775559"/>
            <a:ext cx="113898" cy="118251"/>
          </a:xfrm>
          <a:prstGeom prst="rect">
            <a:avLst/>
          </a:prstGeom>
        </p:spPr>
      </p:pic>
      <p:pic>
        <p:nvPicPr>
          <p:cNvPr id="108" name="Picture 10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6610" y="3775559"/>
            <a:ext cx="113898" cy="118251"/>
          </a:xfrm>
          <a:prstGeom prst="rect">
            <a:avLst/>
          </a:prstGeom>
        </p:spPr>
      </p:pic>
      <p:pic>
        <p:nvPicPr>
          <p:cNvPr id="109" name="Picture 10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6610" y="3902558"/>
            <a:ext cx="113898" cy="118251"/>
          </a:xfrm>
          <a:prstGeom prst="rect">
            <a:avLst/>
          </a:prstGeom>
        </p:spPr>
      </p:pic>
      <p:sp>
        <p:nvSpPr>
          <p:cNvPr id="110" name="Rectangle 109"/>
          <p:cNvSpPr/>
          <p:nvPr/>
        </p:nvSpPr>
        <p:spPr>
          <a:xfrm>
            <a:off x="2071532" y="4102696"/>
            <a:ext cx="632289" cy="253916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85CC"/>
                </a:solidFill>
                <a:latin typeface="Calibri"/>
                <a:cs typeface="+mn-cs"/>
              </a:rPr>
              <a:t>DevOps</a:t>
            </a:r>
          </a:p>
        </p:txBody>
      </p:sp>
      <p:pic>
        <p:nvPicPr>
          <p:cNvPr id="111" name="Picture 1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0210" y="4359761"/>
            <a:ext cx="113898" cy="118251"/>
          </a:xfrm>
          <a:prstGeom prst="rect">
            <a:avLst/>
          </a:prstGeom>
        </p:spPr>
      </p:pic>
      <p:pic>
        <p:nvPicPr>
          <p:cNvPr id="112" name="Picture 1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7944" y="4359761"/>
            <a:ext cx="113898" cy="118251"/>
          </a:xfrm>
          <a:prstGeom prst="rect">
            <a:avLst/>
          </a:prstGeom>
        </p:spPr>
      </p:pic>
      <p:pic>
        <p:nvPicPr>
          <p:cNvPr id="113" name="Picture 1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03010" y="4359761"/>
            <a:ext cx="113898" cy="118251"/>
          </a:xfrm>
          <a:prstGeom prst="rect">
            <a:avLst/>
          </a:prstGeom>
        </p:spPr>
      </p:pic>
      <p:pic>
        <p:nvPicPr>
          <p:cNvPr id="114" name="Picture 1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7743" y="4359761"/>
            <a:ext cx="113898" cy="118251"/>
          </a:xfrm>
          <a:prstGeom prst="rect">
            <a:avLst/>
          </a:prstGeom>
        </p:spPr>
      </p:pic>
      <p:sp>
        <p:nvSpPr>
          <p:cNvPr id="115" name="Rectangle 114"/>
          <p:cNvSpPr/>
          <p:nvPr/>
        </p:nvSpPr>
        <p:spPr>
          <a:xfrm>
            <a:off x="1084218" y="2129962"/>
            <a:ext cx="1981200" cy="86868"/>
          </a:xfrm>
          <a:prstGeom prst="rect">
            <a:avLst/>
          </a:prstGeom>
          <a:solidFill>
            <a:srgbClr val="1F3B9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1087953" y="2754525"/>
            <a:ext cx="7954932" cy="91440"/>
            <a:chOff x="841935" y="1977116"/>
            <a:chExt cx="7954932" cy="91440"/>
          </a:xfrm>
        </p:grpSpPr>
        <p:sp>
          <p:nvSpPr>
            <p:cNvPr id="117" name="Rectangle 116"/>
            <p:cNvSpPr/>
            <p:nvPr/>
          </p:nvSpPr>
          <p:spPr>
            <a:xfrm>
              <a:off x="1490133" y="1977116"/>
              <a:ext cx="7306734" cy="86868"/>
            </a:xfrm>
            <a:prstGeom prst="rect">
              <a:avLst/>
            </a:prstGeom>
            <a:solidFill>
              <a:srgbClr val="1F3B92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841935" y="1977116"/>
              <a:ext cx="642438" cy="91440"/>
            </a:xfrm>
            <a:prstGeom prst="rect">
              <a:avLst/>
            </a:prstGeom>
            <a:pattFill prst="wdDnDiag">
              <a:fgClr>
                <a:sysClr val="window" lastClr="FFFFFF">
                  <a:lumMod val="85000"/>
                </a:sysClr>
              </a:fgClr>
              <a:bgClr>
                <a:sysClr val="window" lastClr="FFFFFF">
                  <a:lumMod val="95000"/>
                </a:sysClr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9" name="Rectangle 118"/>
          <p:cNvSpPr/>
          <p:nvPr/>
        </p:nvSpPr>
        <p:spPr>
          <a:xfrm>
            <a:off x="1998618" y="3486745"/>
            <a:ext cx="7044267" cy="78252"/>
          </a:xfrm>
          <a:prstGeom prst="rect">
            <a:avLst/>
          </a:prstGeom>
          <a:solidFill>
            <a:srgbClr val="1F3B9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1087953" y="3476161"/>
            <a:ext cx="986865" cy="91440"/>
          </a:xfrm>
          <a:prstGeom prst="rect">
            <a:avLst/>
          </a:prstGeom>
          <a:pattFill prst="wdDnDiag">
            <a:fgClr>
              <a:sysClr val="window" lastClr="FFFFFF">
                <a:lumMod val="85000"/>
              </a:sysClr>
            </a:fgClr>
            <a:bgClr>
              <a:sysClr val="window" lastClr="FFFFFF">
                <a:lumMod val="95000"/>
              </a:sysClr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1998618" y="4054012"/>
            <a:ext cx="7044267" cy="78252"/>
          </a:xfrm>
          <a:prstGeom prst="rect">
            <a:avLst/>
          </a:prstGeom>
          <a:solidFill>
            <a:srgbClr val="1F3B9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1087953" y="4043428"/>
            <a:ext cx="986865" cy="91440"/>
          </a:xfrm>
          <a:prstGeom prst="rect">
            <a:avLst/>
          </a:prstGeom>
          <a:pattFill prst="wdDnDiag">
            <a:fgClr>
              <a:sysClr val="window" lastClr="FFFFFF">
                <a:lumMod val="85000"/>
              </a:sysClr>
            </a:fgClr>
            <a:bgClr>
              <a:sysClr val="window" lastClr="FFFFFF">
                <a:lumMod val="95000"/>
              </a:sysClr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3" name="Rectangle 122"/>
          <p:cNvSpPr/>
          <p:nvPr/>
        </p:nvSpPr>
        <p:spPr>
          <a:xfrm>
            <a:off x="1998618" y="4756744"/>
            <a:ext cx="7044267" cy="78252"/>
          </a:xfrm>
          <a:prstGeom prst="rect">
            <a:avLst/>
          </a:prstGeom>
          <a:solidFill>
            <a:srgbClr val="1F3B9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4" name="Rectangle 123"/>
          <p:cNvSpPr/>
          <p:nvPr/>
        </p:nvSpPr>
        <p:spPr>
          <a:xfrm>
            <a:off x="1087953" y="4746160"/>
            <a:ext cx="986865" cy="91440"/>
          </a:xfrm>
          <a:prstGeom prst="rect">
            <a:avLst/>
          </a:prstGeom>
          <a:pattFill prst="wdDnDiag">
            <a:fgClr>
              <a:sysClr val="window" lastClr="FFFFFF">
                <a:lumMod val="85000"/>
              </a:sysClr>
            </a:fgClr>
            <a:bgClr>
              <a:sysClr val="window" lastClr="FFFFFF">
                <a:lumMod val="95000"/>
              </a:sysClr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5" name="Rectangle 124"/>
          <p:cNvSpPr/>
          <p:nvPr/>
        </p:nvSpPr>
        <p:spPr>
          <a:xfrm>
            <a:off x="2071532" y="4805423"/>
            <a:ext cx="1194622" cy="253916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85CC"/>
                </a:solidFill>
                <a:latin typeface="Calibri"/>
                <a:cs typeface="+mn-cs"/>
              </a:rPr>
              <a:t>Test Automation</a:t>
            </a:r>
          </a:p>
        </p:txBody>
      </p:sp>
      <p:pic>
        <p:nvPicPr>
          <p:cNvPr id="126" name="Picture 1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0210" y="5054027"/>
            <a:ext cx="113898" cy="118251"/>
          </a:xfrm>
          <a:prstGeom prst="rect">
            <a:avLst/>
          </a:prstGeom>
        </p:spPr>
      </p:pic>
      <p:pic>
        <p:nvPicPr>
          <p:cNvPr id="127" name="Picture 1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2210" y="5054027"/>
            <a:ext cx="113898" cy="118251"/>
          </a:xfrm>
          <a:prstGeom prst="rect">
            <a:avLst/>
          </a:prstGeom>
        </p:spPr>
      </p:pic>
      <p:pic>
        <p:nvPicPr>
          <p:cNvPr id="128" name="Picture 1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61143" y="5054027"/>
            <a:ext cx="113898" cy="118251"/>
          </a:xfrm>
          <a:prstGeom prst="rect">
            <a:avLst/>
          </a:prstGeom>
        </p:spPr>
      </p:pic>
      <p:pic>
        <p:nvPicPr>
          <p:cNvPr id="129" name="Picture 1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5943" y="5054027"/>
            <a:ext cx="113898" cy="118251"/>
          </a:xfrm>
          <a:prstGeom prst="rect">
            <a:avLst/>
          </a:prstGeom>
        </p:spPr>
      </p:pic>
      <p:sp>
        <p:nvSpPr>
          <p:cNvPr id="130" name="Rectangle 129"/>
          <p:cNvSpPr/>
          <p:nvPr/>
        </p:nvSpPr>
        <p:spPr>
          <a:xfrm>
            <a:off x="1998618" y="5340943"/>
            <a:ext cx="7044267" cy="78252"/>
          </a:xfrm>
          <a:prstGeom prst="rect">
            <a:avLst/>
          </a:prstGeom>
          <a:solidFill>
            <a:srgbClr val="1F3B9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1" name="Rectangle 130"/>
          <p:cNvSpPr/>
          <p:nvPr/>
        </p:nvSpPr>
        <p:spPr>
          <a:xfrm>
            <a:off x="1087953" y="5330359"/>
            <a:ext cx="986865" cy="91440"/>
          </a:xfrm>
          <a:prstGeom prst="rect">
            <a:avLst/>
          </a:prstGeom>
          <a:pattFill prst="wdDnDiag">
            <a:fgClr>
              <a:sysClr val="window" lastClr="FFFFFF">
                <a:lumMod val="85000"/>
              </a:sysClr>
            </a:fgClr>
            <a:bgClr>
              <a:sysClr val="window" lastClr="FFFFFF">
                <a:lumMod val="95000"/>
              </a:sysClr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2071531" y="5406556"/>
            <a:ext cx="1494255" cy="253916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85CC"/>
                </a:solidFill>
                <a:latin typeface="Calibri"/>
                <a:cs typeface="+mn-cs"/>
              </a:rPr>
              <a:t>Service Virtualization</a:t>
            </a:r>
          </a:p>
        </p:txBody>
      </p:sp>
      <p:pic>
        <p:nvPicPr>
          <p:cNvPr id="133" name="Picture 1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0210" y="5655160"/>
            <a:ext cx="113898" cy="118251"/>
          </a:xfrm>
          <a:prstGeom prst="rect">
            <a:avLst/>
          </a:prstGeom>
        </p:spPr>
      </p:pic>
      <p:pic>
        <p:nvPicPr>
          <p:cNvPr id="134" name="Picture 1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8262" y="5655160"/>
            <a:ext cx="113898" cy="118251"/>
          </a:xfrm>
          <a:prstGeom prst="rect">
            <a:avLst/>
          </a:prstGeom>
        </p:spPr>
      </p:pic>
      <p:grpSp>
        <p:nvGrpSpPr>
          <p:cNvPr id="135" name="Group 134"/>
          <p:cNvGrpSpPr/>
          <p:nvPr/>
        </p:nvGrpSpPr>
        <p:grpSpPr>
          <a:xfrm>
            <a:off x="7424944" y="5655160"/>
            <a:ext cx="113898" cy="245251"/>
            <a:chOff x="7161992" y="4581411"/>
            <a:chExt cx="113898" cy="245251"/>
          </a:xfrm>
        </p:grpSpPr>
        <p:pic>
          <p:nvPicPr>
            <p:cNvPr id="136" name="Picture 13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161992" y="4581411"/>
              <a:ext cx="113898" cy="118251"/>
            </a:xfrm>
            <a:prstGeom prst="rect">
              <a:avLst/>
            </a:prstGeom>
          </p:spPr>
        </p:pic>
        <p:pic>
          <p:nvPicPr>
            <p:cNvPr id="137" name="Picture 13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161992" y="4708411"/>
              <a:ext cx="113898" cy="118251"/>
            </a:xfrm>
            <a:prstGeom prst="rect">
              <a:avLst/>
            </a:prstGeom>
          </p:spPr>
        </p:pic>
      </p:grpSp>
      <p:grpSp>
        <p:nvGrpSpPr>
          <p:cNvPr id="138" name="Group 137"/>
          <p:cNvGrpSpPr/>
          <p:nvPr/>
        </p:nvGrpSpPr>
        <p:grpSpPr>
          <a:xfrm>
            <a:off x="5684396" y="5655160"/>
            <a:ext cx="113898" cy="245251"/>
            <a:chOff x="7161992" y="4581411"/>
            <a:chExt cx="113898" cy="245251"/>
          </a:xfrm>
        </p:grpSpPr>
        <p:pic>
          <p:nvPicPr>
            <p:cNvPr id="139" name="Picture 13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161992" y="4581411"/>
              <a:ext cx="113898" cy="118251"/>
            </a:xfrm>
            <a:prstGeom prst="rect">
              <a:avLst/>
            </a:prstGeom>
          </p:spPr>
        </p:pic>
        <p:pic>
          <p:nvPicPr>
            <p:cNvPr id="140" name="Picture 13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161992" y="4708411"/>
              <a:ext cx="113898" cy="118251"/>
            </a:xfrm>
            <a:prstGeom prst="rect">
              <a:avLst/>
            </a:prstGeom>
          </p:spPr>
        </p:pic>
      </p:grpSp>
      <p:graphicFrame>
        <p:nvGraphicFramePr>
          <p:cNvPr id="2" name="Diagram 1"/>
          <p:cNvGraphicFramePr/>
          <p:nvPr>
            <p:extLst/>
          </p:nvPr>
        </p:nvGraphicFramePr>
        <p:xfrm>
          <a:off x="1066803" y="813840"/>
          <a:ext cx="8228177" cy="4874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90" name="Table 8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5658385"/>
              </p:ext>
            </p:extLst>
          </p:nvPr>
        </p:nvGraphicFramePr>
        <p:xfrm>
          <a:off x="1071824" y="1892808"/>
          <a:ext cx="7960752" cy="179832"/>
        </p:xfrm>
        <a:graphic>
          <a:graphicData uri="http://schemas.openxmlformats.org/drawingml/2006/table">
            <a:tbl>
              <a:tblPr/>
              <a:tblGrid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  <a:gridCol w="663396"/>
              </a:tblGrid>
              <a:tr h="158040"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R="93585" marT="0" marB="2743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</a:tr>
            </a:tbl>
          </a:graphicData>
        </a:graphic>
      </p:graphicFrame>
      <p:sp>
        <p:nvSpPr>
          <p:cNvPr id="142" name="Rectangle 141"/>
          <p:cNvSpPr/>
          <p:nvPr/>
        </p:nvSpPr>
        <p:spPr bwMode="auto">
          <a:xfrm>
            <a:off x="409170" y="6089302"/>
            <a:ext cx="9125312" cy="52621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400" i="1" dirty="0" smtClean="0">
                <a:solidFill>
                  <a:schemeClr val="bg1"/>
                </a:solidFill>
              </a:rPr>
              <a:t>The 2 year journey of DevOps transformation will be planned as part of Waves 2, 3 and 4, with feedback mechanism to continuously improve the platform</a:t>
            </a:r>
            <a:endParaRPr lang="en-GB" sz="14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1626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" name="Group 61"/>
          <p:cNvGrpSpPr/>
          <p:nvPr/>
        </p:nvGrpSpPr>
        <p:grpSpPr>
          <a:xfrm>
            <a:off x="559563" y="1505944"/>
            <a:ext cx="8789920" cy="4854565"/>
            <a:chOff x="-5510" y="1196752"/>
            <a:chExt cx="8933645" cy="4968551"/>
          </a:xfrm>
        </p:grpSpPr>
        <p:sp>
          <p:nvSpPr>
            <p:cNvPr id="63" name="Rounded Rectangle 62"/>
            <p:cNvSpPr/>
            <p:nvPr/>
          </p:nvSpPr>
          <p:spPr>
            <a:xfrm>
              <a:off x="25312" y="3933056"/>
              <a:ext cx="8902823" cy="936104"/>
            </a:xfrm>
            <a:prstGeom prst="roundRect">
              <a:avLst/>
            </a:prstGeom>
            <a:solidFill>
              <a:srgbClr val="ADCDEC">
                <a:alpha val="41961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+mn-cs"/>
              </a:endParaRPr>
            </a:p>
          </p:txBody>
        </p:sp>
        <p:sp>
          <p:nvSpPr>
            <p:cNvPr id="64" name="Rounded Rectangle 63"/>
            <p:cNvSpPr/>
            <p:nvPr/>
          </p:nvSpPr>
          <p:spPr>
            <a:xfrm>
              <a:off x="4763" y="2204864"/>
              <a:ext cx="8902823" cy="1644505"/>
            </a:xfrm>
            <a:prstGeom prst="roundRect">
              <a:avLst/>
            </a:prstGeom>
            <a:solidFill>
              <a:srgbClr val="ADCDEC">
                <a:alpha val="41961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+mn-cs"/>
              </a:endParaRPr>
            </a:p>
          </p:txBody>
        </p:sp>
        <p:sp>
          <p:nvSpPr>
            <p:cNvPr id="65" name="Rounded Rectangle 64"/>
            <p:cNvSpPr/>
            <p:nvPr/>
          </p:nvSpPr>
          <p:spPr>
            <a:xfrm>
              <a:off x="-5510" y="1196752"/>
              <a:ext cx="8891115" cy="983663"/>
            </a:xfrm>
            <a:prstGeom prst="roundRect">
              <a:avLst/>
            </a:prstGeom>
            <a:solidFill>
              <a:srgbClr val="FFFFFF">
                <a:lumMod val="9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+mn-cs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5724128" y="2563404"/>
              <a:ext cx="792176" cy="361540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solidFill>
                <a:srgbClr val="0099A0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ctr">
                <a:defRPr>
                  <a:latin typeface="+mj-lt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Provisioning </a:t>
              </a: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Lead(1)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Calibri"/>
                <a:ea typeface="+mn-ea"/>
                <a:cs typeface="Calibri"/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3458060" y="2563404"/>
              <a:ext cx="1054017" cy="361539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ctr">
                <a:defRPr sz="1000" b="0">
                  <a:solidFill>
                    <a:srgbClr val="2D2D2A"/>
                  </a:solidFill>
                  <a:latin typeface="Calibri"/>
                  <a:cs typeface="Calibri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</a:rPr>
                <a:t>Test </a:t>
              </a: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</a:rPr>
                <a:t>Automation Lead (1)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Calibri"/>
                <a:ea typeface="+mn-ea"/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4644008" y="2563404"/>
              <a:ext cx="948572" cy="361540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ctr">
                <a:defRPr sz="1000" b="0">
                  <a:solidFill>
                    <a:srgbClr val="2D2D2A"/>
                  </a:solidFill>
                  <a:latin typeface="Calibri"/>
                  <a:cs typeface="Calibri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</a:rPr>
                <a:t>S.V Lead(1)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Calibri"/>
                <a:ea typeface="+mn-ea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1187624" y="1935088"/>
              <a:ext cx="7488832" cy="197767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solidFill>
                <a:srgbClr val="F5860B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ctr">
                <a:defRPr sz="1200" b="1">
                  <a:solidFill>
                    <a:srgbClr val="2D2D2A"/>
                  </a:solidFill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Expert Sans Regular"/>
                  <a:ea typeface="+mn-ea"/>
                  <a:cs typeface="+mn-cs"/>
                </a:rPr>
                <a:t>Solution Architectur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Expert Sans Regular"/>
                  <a:ea typeface="+mn-ea"/>
                  <a:cs typeface="+mn-cs"/>
                </a:rPr>
                <a:t>(</a:t>
              </a:r>
              <a:r>
                <a:rPr kumimoji="0" 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Expert Sans Regular"/>
                  <a:ea typeface="+mn-ea"/>
                  <a:cs typeface="+mn-cs"/>
                </a:rPr>
                <a:t>Cognizant(1) + Virtusa(1) + Barclays(1))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Expert Sans Regular"/>
                <a:ea typeface="+mn-ea"/>
                <a:cs typeface="+mn-cs"/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107503" y="1574119"/>
              <a:ext cx="979305" cy="4847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Expert Sans Regular"/>
                  <a:cs typeface="+mn-cs"/>
                </a:rPr>
                <a:t>PROGRAM MANAGEMENT OFFICE</a:t>
              </a:r>
            </a:p>
          </p:txBody>
        </p:sp>
        <p:sp>
          <p:nvSpPr>
            <p:cNvPr id="71" name="Rounded Rectangle 70"/>
            <p:cNvSpPr/>
            <p:nvPr/>
          </p:nvSpPr>
          <p:spPr>
            <a:xfrm>
              <a:off x="2739103" y="3501008"/>
              <a:ext cx="557088" cy="1917851"/>
            </a:xfrm>
            <a:prstGeom prst="roundRect">
              <a:avLst/>
            </a:prstGeom>
            <a:solidFill>
              <a:srgbClr val="ADCDEC">
                <a:alpha val="41961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+mn-cs"/>
              </a:endParaRPr>
            </a:p>
          </p:txBody>
        </p:sp>
        <p:sp>
          <p:nvSpPr>
            <p:cNvPr id="72" name="Rounded Rectangle 71"/>
            <p:cNvSpPr/>
            <p:nvPr/>
          </p:nvSpPr>
          <p:spPr>
            <a:xfrm>
              <a:off x="3344301" y="3501008"/>
              <a:ext cx="557088" cy="1917851"/>
            </a:xfrm>
            <a:prstGeom prst="roundRect">
              <a:avLst/>
            </a:prstGeom>
            <a:solidFill>
              <a:srgbClr val="ADCDEC">
                <a:alpha val="41961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+mn-cs"/>
              </a:endParaRPr>
            </a:p>
          </p:txBody>
        </p:sp>
        <p:sp>
          <p:nvSpPr>
            <p:cNvPr id="73" name="Rounded Rectangle 72"/>
            <p:cNvSpPr/>
            <p:nvPr/>
          </p:nvSpPr>
          <p:spPr>
            <a:xfrm>
              <a:off x="3954990" y="3501008"/>
              <a:ext cx="557088" cy="1917851"/>
            </a:xfrm>
            <a:prstGeom prst="roundRect">
              <a:avLst/>
            </a:prstGeom>
            <a:solidFill>
              <a:srgbClr val="ADCDEC">
                <a:alpha val="41961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+mn-cs"/>
              </a:endParaRPr>
            </a:p>
          </p:txBody>
        </p:sp>
        <p:sp>
          <p:nvSpPr>
            <p:cNvPr id="74" name="Rounded Rectangle 73"/>
            <p:cNvSpPr/>
            <p:nvPr/>
          </p:nvSpPr>
          <p:spPr>
            <a:xfrm>
              <a:off x="4560188" y="3501008"/>
              <a:ext cx="557088" cy="1917851"/>
            </a:xfrm>
            <a:prstGeom prst="roundRect">
              <a:avLst/>
            </a:prstGeom>
            <a:solidFill>
              <a:srgbClr val="ADCDEC">
                <a:alpha val="41961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+mn-cs"/>
              </a:endParaRPr>
            </a:p>
          </p:txBody>
        </p:sp>
        <p:sp>
          <p:nvSpPr>
            <p:cNvPr id="75" name="Rounded Rectangle 74"/>
            <p:cNvSpPr/>
            <p:nvPr/>
          </p:nvSpPr>
          <p:spPr>
            <a:xfrm>
              <a:off x="5165386" y="3501008"/>
              <a:ext cx="557088" cy="1917851"/>
            </a:xfrm>
            <a:prstGeom prst="roundRect">
              <a:avLst/>
            </a:prstGeom>
            <a:solidFill>
              <a:srgbClr val="ADCDEC">
                <a:alpha val="41961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+mn-cs"/>
              </a:endParaRPr>
            </a:p>
          </p:txBody>
        </p:sp>
        <p:sp>
          <p:nvSpPr>
            <p:cNvPr id="76" name="Rounded Rectangle 75"/>
            <p:cNvSpPr/>
            <p:nvPr/>
          </p:nvSpPr>
          <p:spPr>
            <a:xfrm>
              <a:off x="5770584" y="3501008"/>
              <a:ext cx="557088" cy="1917851"/>
            </a:xfrm>
            <a:prstGeom prst="roundRect">
              <a:avLst/>
            </a:prstGeom>
            <a:solidFill>
              <a:srgbClr val="ADCDEC">
                <a:alpha val="41961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+mn-cs"/>
              </a:endParaRPr>
            </a:p>
          </p:txBody>
        </p:sp>
        <p:sp>
          <p:nvSpPr>
            <p:cNvPr id="77" name="Rounded Rectangle 76"/>
            <p:cNvSpPr/>
            <p:nvPr/>
          </p:nvSpPr>
          <p:spPr>
            <a:xfrm>
              <a:off x="6375782" y="3501008"/>
              <a:ext cx="557088" cy="1917851"/>
            </a:xfrm>
            <a:prstGeom prst="roundRect">
              <a:avLst/>
            </a:prstGeom>
            <a:solidFill>
              <a:srgbClr val="ADCDEC">
                <a:alpha val="41961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+mn-cs"/>
              </a:endParaRPr>
            </a:p>
          </p:txBody>
        </p:sp>
        <p:sp>
          <p:nvSpPr>
            <p:cNvPr id="78" name="Rounded Rectangle 77"/>
            <p:cNvSpPr/>
            <p:nvPr/>
          </p:nvSpPr>
          <p:spPr>
            <a:xfrm>
              <a:off x="6980980" y="3501008"/>
              <a:ext cx="557088" cy="1917851"/>
            </a:xfrm>
            <a:prstGeom prst="roundRect">
              <a:avLst/>
            </a:prstGeom>
            <a:solidFill>
              <a:srgbClr val="ADCDEC">
                <a:alpha val="41961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+mn-cs"/>
              </a:endParaRPr>
            </a:p>
          </p:txBody>
        </p:sp>
        <p:sp>
          <p:nvSpPr>
            <p:cNvPr id="79" name="Rounded Rectangle 78"/>
            <p:cNvSpPr/>
            <p:nvPr/>
          </p:nvSpPr>
          <p:spPr>
            <a:xfrm>
              <a:off x="7586178" y="3501008"/>
              <a:ext cx="557088" cy="1917851"/>
            </a:xfrm>
            <a:prstGeom prst="roundRect">
              <a:avLst/>
            </a:prstGeom>
            <a:solidFill>
              <a:srgbClr val="ADCDEC">
                <a:alpha val="41961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+mn-cs"/>
              </a:endParaRPr>
            </a:p>
          </p:txBody>
        </p:sp>
        <p:sp>
          <p:nvSpPr>
            <p:cNvPr id="80" name="Rounded Rectangle 79"/>
            <p:cNvSpPr/>
            <p:nvPr/>
          </p:nvSpPr>
          <p:spPr>
            <a:xfrm>
              <a:off x="8191376" y="3501008"/>
              <a:ext cx="557088" cy="1917851"/>
            </a:xfrm>
            <a:prstGeom prst="roundRect">
              <a:avLst/>
            </a:prstGeom>
            <a:solidFill>
              <a:srgbClr val="ADCDEC">
                <a:alpha val="41961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xpert Sans Regular"/>
                <a:ea typeface="+mn-ea"/>
                <a:cs typeface="+mn-cs"/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107594" y="2563406"/>
              <a:ext cx="907296" cy="4847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Expert Sans Regular"/>
                  <a:cs typeface="+mn-cs"/>
                </a:rPr>
                <a:t>SOLUTION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Expert Sans Regular"/>
                  <a:cs typeface="+mn-cs"/>
                </a:rPr>
                <a:t>DESIGN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Expert Sans Regular"/>
                  <a:cs typeface="+mn-cs"/>
                </a:rPr>
                <a:t>TEAM</a:t>
              </a: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2862523" y="5203939"/>
              <a:ext cx="33793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Calibri"/>
                  <a:cs typeface="Calibri"/>
                </a:rPr>
                <a:t>App 1</a:t>
              </a: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3458060" y="5187061"/>
              <a:ext cx="33793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Calibri"/>
                  <a:cs typeface="Calibri"/>
                </a:rPr>
                <a:t>App 2</a:t>
              </a: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4064378" y="5187062"/>
              <a:ext cx="33793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Calibri"/>
                  <a:cs typeface="Calibri"/>
                </a:rPr>
                <a:t>App 3</a:t>
              </a: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4669564" y="5196271"/>
              <a:ext cx="33793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Calibri"/>
                  <a:cs typeface="Calibri"/>
                </a:rPr>
                <a:t>App 4</a:t>
              </a: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5274774" y="5187060"/>
              <a:ext cx="33793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Calibri"/>
                  <a:cs typeface="Calibri"/>
                </a:rPr>
                <a:t>App 5</a:t>
              </a: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5861148" y="5187060"/>
              <a:ext cx="33793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Calibri"/>
                  <a:cs typeface="Calibri"/>
                </a:rPr>
                <a:t>App 6</a:t>
              </a: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6485170" y="5187060"/>
              <a:ext cx="33793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Calibri"/>
                  <a:cs typeface="Calibri"/>
                </a:rPr>
                <a:t>App 7</a:t>
              </a: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7090368" y="5187060"/>
              <a:ext cx="33793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Calibri"/>
                  <a:cs typeface="Calibri"/>
                </a:rPr>
                <a:t>App 8</a:t>
              </a: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7695566" y="5187060"/>
              <a:ext cx="33793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Calibri"/>
                  <a:cs typeface="Calibri"/>
                </a:rPr>
                <a:t>App 9</a:t>
              </a:r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8263002" y="5187060"/>
              <a:ext cx="41345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Calibri"/>
                  <a:cs typeface="Calibri"/>
                </a:rPr>
                <a:t>App 10</a:t>
              </a: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1187624" y="1293103"/>
              <a:ext cx="7488832" cy="263690"/>
            </a:xfrm>
            <a:prstGeom prst="rect">
              <a:avLst/>
            </a:prstGeom>
            <a:solidFill>
              <a:srgbClr val="00AEEF"/>
            </a:solidFill>
            <a:ln w="25400" cap="flat" cmpd="sng" algn="ctr">
              <a:solidFill>
                <a:srgbClr val="4D595F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Expert Sans Regular"/>
                  <a:ea typeface="+mn-ea"/>
                  <a:cs typeface="+mn-cs"/>
                </a:rPr>
                <a:t>Barclays Program Management </a:t>
              </a:r>
            </a:p>
          </p:txBody>
        </p:sp>
        <p:sp>
          <p:nvSpPr>
            <p:cNvPr id="93" name="Rectangle 92"/>
            <p:cNvSpPr/>
            <p:nvPr/>
          </p:nvSpPr>
          <p:spPr>
            <a:xfrm>
              <a:off x="2483768" y="2997112"/>
              <a:ext cx="792088" cy="863936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Expert Sans Regular"/>
                  <a:ea typeface="+mn-ea"/>
                  <a:cs typeface="+mn-cs"/>
                </a:rPr>
                <a:t>Design Consultants (2)</a:t>
              </a:r>
            </a:p>
          </p:txBody>
        </p:sp>
        <p:sp>
          <p:nvSpPr>
            <p:cNvPr id="94" name="Rectangle 93"/>
            <p:cNvSpPr/>
            <p:nvPr/>
          </p:nvSpPr>
          <p:spPr>
            <a:xfrm>
              <a:off x="1604568" y="5571276"/>
              <a:ext cx="1305840" cy="594027"/>
            </a:xfrm>
            <a:prstGeom prst="rect">
              <a:avLst/>
            </a:prstGeom>
            <a:solidFill>
              <a:srgbClr val="00AEEF"/>
            </a:solidFill>
            <a:ln w="25400" cap="flat" cmpd="sng" algn="ctr">
              <a:solidFill>
                <a:srgbClr val="4D595F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Expert Sans Regular"/>
                  <a:ea typeface="+mn-ea"/>
                  <a:cs typeface="+mn-cs"/>
                </a:rPr>
                <a:t>BARCLAYS</a:t>
              </a:r>
            </a:p>
          </p:txBody>
        </p:sp>
        <p:sp>
          <p:nvSpPr>
            <p:cNvPr id="95" name="Rectangle 94"/>
            <p:cNvSpPr/>
            <p:nvPr/>
          </p:nvSpPr>
          <p:spPr>
            <a:xfrm>
              <a:off x="3029624" y="5571276"/>
              <a:ext cx="1326125" cy="58826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99A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Expert Sans Regular"/>
                  <a:ea typeface="+mn-ea"/>
                  <a:cs typeface="+mn-cs"/>
                </a:rPr>
                <a:t>VIRTUSA</a:t>
              </a:r>
            </a:p>
          </p:txBody>
        </p:sp>
        <p:sp>
          <p:nvSpPr>
            <p:cNvPr id="96" name="Rectangle 95"/>
            <p:cNvSpPr/>
            <p:nvPr/>
          </p:nvSpPr>
          <p:spPr>
            <a:xfrm>
              <a:off x="4474964" y="5571276"/>
              <a:ext cx="1117616" cy="594027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Expert Sans Regular"/>
                  <a:ea typeface="+mn-ea"/>
                  <a:cs typeface="+mn-cs"/>
                </a:rPr>
                <a:t>Cognizant</a:t>
              </a:r>
            </a:p>
          </p:txBody>
        </p:sp>
        <p:sp>
          <p:nvSpPr>
            <p:cNvPr id="97" name="Rectangle 96"/>
            <p:cNvSpPr/>
            <p:nvPr/>
          </p:nvSpPr>
          <p:spPr>
            <a:xfrm>
              <a:off x="179512" y="5571276"/>
              <a:ext cx="1305840" cy="594027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Expert Sans Regular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2483768" y="2563405"/>
              <a:ext cx="792088" cy="361537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ctr">
                <a:defRPr sz="1200" b="1">
                  <a:solidFill>
                    <a:srgbClr val="2D2D2A"/>
                  </a:solidFill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TEMs 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SME (</a:t>
              </a: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1)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Calibri"/>
                <a:ea typeface="+mn-ea"/>
                <a:cs typeface="Calibri"/>
              </a:endParaRP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7812360" y="2563404"/>
              <a:ext cx="864184" cy="361540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solidFill>
                <a:srgbClr val="0099A0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ctr">
                <a:defRPr sz="1000">
                  <a:solidFill>
                    <a:srgbClr val="2D2D2A"/>
                  </a:solidFill>
                  <a:latin typeface="Calibri"/>
                  <a:cs typeface="Calibri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</a:rPr>
                <a:t>API Engineering Team </a:t>
              </a: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</a:rPr>
                <a:t>Lead(1)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Calibri"/>
                <a:ea typeface="+mn-ea"/>
              </a:endParaRP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5724128" y="5568692"/>
              <a:ext cx="1117616" cy="594027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660066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Expert Sans Regular"/>
                  <a:ea typeface="+mn-ea"/>
                  <a:cs typeface="+mn-cs"/>
                </a:rPr>
                <a:t>IBM</a:t>
              </a: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6962228" y="5568692"/>
              <a:ext cx="1181038" cy="594027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5860B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Expert Sans Regular"/>
                  <a:ea typeface="+mn-ea"/>
                  <a:cs typeface="+mn-cs"/>
                </a:rPr>
                <a:t>Virtusa / Cognizant / Barclays</a:t>
              </a:r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117868" y="4149080"/>
              <a:ext cx="907296" cy="4847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all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Expert Sans Regular"/>
                  <a:cs typeface="+mn-cs"/>
                </a:rPr>
                <a:t>Pilot Execution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Expert Sans Regular"/>
                  <a:cs typeface="+mn-cs"/>
                </a:rPr>
                <a:t>TEAM</a:t>
              </a:r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2483768" y="4005224"/>
              <a:ext cx="792088" cy="64791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TEMS Factory (10*)</a:t>
              </a:r>
            </a:p>
          </p:txBody>
        </p:sp>
        <p:sp>
          <p:nvSpPr>
            <p:cNvPr id="104" name="Rectangle 103"/>
            <p:cNvSpPr/>
            <p:nvPr/>
          </p:nvSpPr>
          <p:spPr>
            <a:xfrm>
              <a:off x="3505345" y="2996952"/>
              <a:ext cx="1006732" cy="864096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5860B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Expert Sans Regular"/>
                  <a:ea typeface="+mn-ea"/>
                  <a:cs typeface="+mn-cs"/>
                </a:rPr>
                <a:t>Virtusa </a:t>
              </a:r>
              <a:r>
                <a:rPr kumimoji="0" lang="en-US" sz="8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Expert Sans Regular"/>
                  <a:ea typeface="+mn-ea"/>
                  <a:cs typeface="+mn-cs"/>
                </a:rPr>
                <a:t>VtaF</a:t>
              </a: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Expert Sans Regular"/>
                  <a:ea typeface="+mn-ea"/>
                  <a:cs typeface="+mn-cs"/>
                </a:rPr>
                <a:t> Test Automation SME (1) 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Expert Sans Regular"/>
                  <a:ea typeface="+mn-ea"/>
                  <a:cs typeface="+mn-cs"/>
                </a:rPr>
                <a:t>Cognizant Consultant (1)</a:t>
              </a:r>
            </a:p>
          </p:txBody>
        </p:sp>
        <p:sp>
          <p:nvSpPr>
            <p:cNvPr id="105" name="Rectangle 104"/>
            <p:cNvSpPr/>
            <p:nvPr/>
          </p:nvSpPr>
          <p:spPr>
            <a:xfrm>
              <a:off x="4644120" y="2996952"/>
              <a:ext cx="968584" cy="864096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5860B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Expert Sans Regular"/>
                  <a:ea typeface="+mn-ea"/>
                  <a:cs typeface="+mn-cs"/>
                </a:rPr>
                <a:t>Virtusa Integration Architect  (1)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Expert Sans Regular"/>
                  <a:ea typeface="+mn-ea"/>
                  <a:cs typeface="+mn-cs"/>
                </a:rPr>
                <a:t>Cognizant Design Consultant (2) </a:t>
              </a:r>
            </a:p>
          </p:txBody>
        </p:sp>
        <p:sp>
          <p:nvSpPr>
            <p:cNvPr id="106" name="Rectangle 105"/>
            <p:cNvSpPr/>
            <p:nvPr/>
          </p:nvSpPr>
          <p:spPr>
            <a:xfrm>
              <a:off x="6654326" y="2996952"/>
              <a:ext cx="1041240" cy="864096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5860B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Expert Sans Regular"/>
                  <a:ea typeface="+mn-ea"/>
                  <a:cs typeface="+mn-cs"/>
                </a:rPr>
                <a:t>Cognizant Design Consultant (1)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Expert Sans Regular"/>
                  <a:ea typeface="+mn-ea"/>
                  <a:cs typeface="+mn-cs"/>
                </a:rPr>
                <a:t>Virtusa Design Consultant (1)</a:t>
              </a:r>
            </a:p>
          </p:txBody>
        </p:sp>
        <p:sp>
          <p:nvSpPr>
            <p:cNvPr id="107" name="Rectangle 106"/>
            <p:cNvSpPr/>
            <p:nvPr/>
          </p:nvSpPr>
          <p:spPr>
            <a:xfrm>
              <a:off x="7812360" y="2996952"/>
              <a:ext cx="864096" cy="864096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99A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Expert Sans Regular"/>
                  <a:ea typeface="+mn-ea"/>
                  <a:cs typeface="+mn-cs"/>
                </a:rPr>
                <a:t>Design Consultant (1)</a:t>
              </a:r>
            </a:p>
          </p:txBody>
        </p:sp>
        <p:sp>
          <p:nvSpPr>
            <p:cNvPr id="108" name="Rectangle 107"/>
            <p:cNvSpPr/>
            <p:nvPr/>
          </p:nvSpPr>
          <p:spPr>
            <a:xfrm>
              <a:off x="5724240" y="2996952"/>
              <a:ext cx="792088" cy="864096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99A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Expert Sans Regular"/>
                  <a:ea typeface="+mn-ea"/>
                  <a:cs typeface="+mn-cs"/>
                </a:rPr>
                <a:t>Design consultant (1)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Expert Sans Regular"/>
                <a:ea typeface="+mn-ea"/>
                <a:cs typeface="+mn-cs"/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6654326" y="4365104"/>
              <a:ext cx="1041240" cy="28787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660066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IBM </a:t>
              </a:r>
              <a:r>
                <a:rPr kumimoji="0" lang="en-US" sz="8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Nolio</a:t>
              </a: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  Factory</a:t>
              </a:r>
            </a:p>
          </p:txBody>
        </p:sp>
        <p:sp>
          <p:nvSpPr>
            <p:cNvPr id="110" name="Rectangle 109"/>
            <p:cNvSpPr/>
            <p:nvPr/>
          </p:nvSpPr>
          <p:spPr>
            <a:xfrm>
              <a:off x="3505345" y="4005064"/>
              <a:ext cx="1006733" cy="64791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5860B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Virtusa </a:t>
              </a:r>
              <a:r>
                <a:rPr kumimoji="0" lang="en-US" sz="8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VtaF</a:t>
              </a: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 Consultants (5*)</a:t>
              </a:r>
            </a:p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Cognizant Test Teams (?)</a:t>
              </a:r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4644120" y="4005064"/>
              <a:ext cx="948460" cy="64791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SV Factory (2*)</a:t>
              </a:r>
            </a:p>
          </p:txBody>
        </p:sp>
        <p:sp>
          <p:nvSpPr>
            <p:cNvPr id="112" name="Rectangle 111"/>
            <p:cNvSpPr/>
            <p:nvPr/>
          </p:nvSpPr>
          <p:spPr>
            <a:xfrm>
              <a:off x="5724240" y="4005064"/>
              <a:ext cx="792088" cy="64791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99A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Provisioning Factory (2*) </a:t>
              </a:r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7812360" y="4005064"/>
              <a:ext cx="864096" cy="28787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A9B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API Factory (2*)</a:t>
              </a:r>
            </a:p>
          </p:txBody>
        </p:sp>
        <p:sp>
          <p:nvSpPr>
            <p:cNvPr id="114" name="TextBox 113"/>
            <p:cNvSpPr txBox="1"/>
            <p:nvPr/>
          </p:nvSpPr>
          <p:spPr>
            <a:xfrm>
              <a:off x="2555776" y="2204864"/>
              <a:ext cx="6120680" cy="216024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solidFill>
                <a:srgbClr val="F5860B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ctr">
                <a:defRPr sz="1000" b="0">
                  <a:solidFill>
                    <a:srgbClr val="2D2D2A"/>
                  </a:solidFill>
                  <a:latin typeface="Calibri"/>
                  <a:cs typeface="Calibri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</a:rPr>
                <a:t>Cognizant(1)  + Virtusa (1) + Barclays  PM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Calibri"/>
                <a:ea typeface="+mn-ea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1187624" y="1628800"/>
              <a:ext cx="7488832" cy="216024"/>
            </a:xfrm>
            <a:prstGeom prst="rect">
              <a:avLst/>
            </a:prstGeom>
            <a:solidFill>
              <a:srgbClr val="CCFFCC"/>
            </a:solidFill>
            <a:ln w="25400" cap="flat" cmpd="sng" algn="ctr">
              <a:solidFill>
                <a:srgbClr val="4D595F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Expert Sans Regular"/>
                  <a:ea typeface="+mn-ea"/>
                  <a:cs typeface="+mn-cs"/>
                </a:rPr>
                <a:t>Working Group</a:t>
              </a: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6654326" y="2563404"/>
              <a:ext cx="1041240" cy="361540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ctr">
                <a:defRPr sz="1000">
                  <a:solidFill>
                    <a:srgbClr val="2D2D2A"/>
                  </a:solidFill>
                  <a:latin typeface="Calibri"/>
                  <a:cs typeface="Calibri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</a:rPr>
                <a:t>CI </a:t>
              </a: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</a:rPr>
                <a:t>Lead (1)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Calibri"/>
                <a:ea typeface="+mn-ea"/>
              </a:endParaRPr>
            </a:p>
          </p:txBody>
        </p:sp>
        <p:sp>
          <p:nvSpPr>
            <p:cNvPr id="117" name="Rounded Rectangle 116"/>
            <p:cNvSpPr/>
            <p:nvPr/>
          </p:nvSpPr>
          <p:spPr>
            <a:xfrm>
              <a:off x="1224636" y="2274845"/>
              <a:ext cx="1152128" cy="2452325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solidFill>
                <a:srgbClr val="F5860B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xpert Sans Regular"/>
                <a:ea typeface="+mn-ea"/>
                <a:cs typeface="+mn-cs"/>
              </a:endParaRPr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1343913" y="2610837"/>
              <a:ext cx="913575" cy="1015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Expert Sans Regular"/>
                  <a:cs typeface="+mn-cs"/>
                </a:rPr>
                <a:t>Application Onboarding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Expert Sans Regular"/>
                  <a:cs typeface="+mn-cs"/>
                </a:rPr>
                <a:t>Team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96969"/>
                  </a:solidFill>
                  <a:effectLst/>
                  <a:uLnTx/>
                  <a:uFillTx/>
                  <a:latin typeface="Expert Sans Regular"/>
                  <a:cs typeface="+mn-cs"/>
                </a:rPr>
                <a:t>(10*) plus Barclays stakeholders</a:t>
              </a: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6654326" y="4005064"/>
              <a:ext cx="1041240" cy="28787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CI Factory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Cognizant (5*)</a:t>
              </a: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7812360" y="4379977"/>
              <a:ext cx="876345" cy="287872"/>
            </a:xfrm>
            <a:prstGeom prst="rect">
              <a:avLst/>
            </a:prstGeom>
            <a:solidFill>
              <a:srgbClr val="00AEEF"/>
            </a:solidFill>
            <a:ln w="25400" cap="flat" cmpd="sng" algn="ctr">
              <a:solidFill>
                <a:srgbClr val="0099A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D2D2A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API Team</a:t>
              </a:r>
            </a:p>
          </p:txBody>
        </p:sp>
      </p:grpSp>
      <p:sp>
        <p:nvSpPr>
          <p:cNvPr id="121" name="Rectangle 2"/>
          <p:cNvSpPr>
            <a:spLocks noChangeArrowheads="1"/>
          </p:cNvSpPr>
          <p:nvPr/>
        </p:nvSpPr>
        <p:spPr bwMode="auto">
          <a:xfrm>
            <a:off x="2650156" y="188915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GB" sz="2400" b="0" dirty="0" smtClean="0">
                <a:solidFill>
                  <a:schemeClr val="tx2"/>
                </a:solidFill>
              </a:rPr>
              <a:t>Who will Deliver the Solution</a:t>
            </a:r>
            <a:endParaRPr lang="en-US" sz="2400" b="0" dirty="0">
              <a:solidFill>
                <a:schemeClr val="tx2"/>
              </a:solidFill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299741" y="6363332"/>
            <a:ext cx="364521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b="0" i="1" dirty="0" smtClean="0">
                <a:solidFill>
                  <a:schemeClr val="bg2">
                    <a:lumMod val="50000"/>
                  </a:schemeClr>
                </a:solidFill>
              </a:rPr>
              <a:t>Team structure, as defined for Pilot</a:t>
            </a:r>
            <a:endParaRPr lang="en-US" sz="800" b="0" i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23" name="Rectangle 122"/>
          <p:cNvSpPr/>
          <p:nvPr/>
        </p:nvSpPr>
        <p:spPr bwMode="auto">
          <a:xfrm>
            <a:off x="389666" y="839190"/>
            <a:ext cx="9125312" cy="57845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400" i="1" dirty="0" smtClean="0">
                <a:solidFill>
                  <a:srgbClr val="FFFFFF"/>
                </a:solidFill>
              </a:rPr>
              <a:t>Delivery execution team structure is defined and being ramped up for Wave 1 (Pilot) phase </a:t>
            </a:r>
            <a:endParaRPr lang="en-GB" sz="1400" i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2687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2650156" y="188915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GB" sz="2400" b="0" dirty="0" smtClean="0">
                <a:solidFill>
                  <a:schemeClr val="tx2"/>
                </a:solidFill>
              </a:rPr>
              <a:t>Appendix</a:t>
            </a:r>
            <a:endParaRPr lang="en-US" sz="2400" b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70313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Rectangle 2"/>
          <p:cNvSpPr>
            <a:spLocks noChangeArrowheads="1"/>
          </p:cNvSpPr>
          <p:nvPr/>
        </p:nvSpPr>
        <p:spPr bwMode="auto">
          <a:xfrm>
            <a:off x="2650156" y="188915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US" sz="2400" b="0" dirty="0" smtClean="0">
                <a:solidFill>
                  <a:srgbClr val="00A4E8"/>
                </a:solidFill>
              </a:rPr>
              <a:t>Delivery</a:t>
            </a:r>
            <a:endParaRPr lang="en-US" sz="2400" b="0" dirty="0">
              <a:solidFill>
                <a:srgbClr val="00A4E8"/>
              </a:solidFill>
            </a:endParaRPr>
          </a:p>
        </p:txBody>
      </p:sp>
      <p:sp>
        <p:nvSpPr>
          <p:cNvPr id="4" name="Rectangle 4"/>
          <p:cNvSpPr/>
          <p:nvPr/>
        </p:nvSpPr>
        <p:spPr>
          <a:xfrm>
            <a:off x="2412966" y="1586941"/>
            <a:ext cx="6315844" cy="234776"/>
          </a:xfrm>
          <a:custGeom>
            <a:avLst/>
            <a:gdLst>
              <a:gd name="connsiteX0" fmla="*/ 0 w 3733800"/>
              <a:gd name="connsiteY0" fmla="*/ 0 h 381000"/>
              <a:gd name="connsiteX1" fmla="*/ 3733800 w 3733800"/>
              <a:gd name="connsiteY1" fmla="*/ 0 h 381000"/>
              <a:gd name="connsiteX2" fmla="*/ 3733800 w 3733800"/>
              <a:gd name="connsiteY2" fmla="*/ 381000 h 381000"/>
              <a:gd name="connsiteX3" fmla="*/ 0 w 3733800"/>
              <a:gd name="connsiteY3" fmla="*/ 381000 h 381000"/>
              <a:gd name="connsiteX4" fmla="*/ 0 w 3733800"/>
              <a:gd name="connsiteY4" fmla="*/ 0 h 381000"/>
              <a:gd name="connsiteX0" fmla="*/ 0 w 3733800"/>
              <a:gd name="connsiteY0" fmla="*/ 0 h 381000"/>
              <a:gd name="connsiteX1" fmla="*/ 3733800 w 3733800"/>
              <a:gd name="connsiteY1" fmla="*/ 0 h 381000"/>
              <a:gd name="connsiteX2" fmla="*/ 3733800 w 3733800"/>
              <a:gd name="connsiteY2" fmla="*/ 381000 h 381000"/>
              <a:gd name="connsiteX3" fmla="*/ 239111 w 3733800"/>
              <a:gd name="connsiteY3" fmla="*/ 374952 h 381000"/>
              <a:gd name="connsiteX4" fmla="*/ 0 w 3733800"/>
              <a:gd name="connsiteY4" fmla="*/ 381000 h 381000"/>
              <a:gd name="connsiteX5" fmla="*/ 0 w 3733800"/>
              <a:gd name="connsiteY5" fmla="*/ 0 h 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33800" h="381000">
                <a:moveTo>
                  <a:pt x="0" y="0"/>
                </a:moveTo>
                <a:lnTo>
                  <a:pt x="3733800" y="0"/>
                </a:lnTo>
                <a:lnTo>
                  <a:pt x="3733800" y="381000"/>
                </a:lnTo>
                <a:lnTo>
                  <a:pt x="239111" y="374952"/>
                </a:lnTo>
                <a:lnTo>
                  <a:pt x="0" y="381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lIns="87906" tIns="43953" rIns="87906" bIns="43953" rtlCol="0" anchor="ctr"/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tform Architecture and Design (e.g. </a:t>
            </a:r>
            <a:r>
              <a:rPr lang="en-US" sz="80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aS</a:t>
            </a: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800" b="0" kern="0" dirty="0" err="1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cker</a:t>
            </a: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Open Shift etc.| </a:t>
            </a:r>
            <a:r>
              <a:rPr lang="en-US" sz="80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Ts</a:t>
            </a: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800" b="0" kern="0" dirty="0" err="1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lio</a:t>
            </a: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800" b="0" kern="0" dirty="0" err="1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c</a:t>
            </a: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| Cloud NPE)</a:t>
            </a:r>
          </a:p>
        </p:txBody>
      </p:sp>
      <p:sp>
        <p:nvSpPr>
          <p:cNvPr id="5" name="Down Arrow 4"/>
          <p:cNvSpPr/>
          <p:nvPr/>
        </p:nvSpPr>
        <p:spPr>
          <a:xfrm>
            <a:off x="8430351" y="1499408"/>
            <a:ext cx="211128" cy="260736"/>
          </a:xfrm>
          <a:prstGeom prst="downArrow">
            <a:avLst/>
          </a:prstGeom>
          <a:solidFill>
            <a:srgbClr val="1F3B9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Down Arrow 5"/>
          <p:cNvSpPr/>
          <p:nvPr/>
        </p:nvSpPr>
        <p:spPr>
          <a:xfrm>
            <a:off x="2660782" y="1499408"/>
            <a:ext cx="211128" cy="260736"/>
          </a:xfrm>
          <a:prstGeom prst="downArrow">
            <a:avLst/>
          </a:prstGeom>
          <a:solidFill>
            <a:srgbClr val="1F3B9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4"/>
          <p:cNvSpPr/>
          <p:nvPr/>
        </p:nvSpPr>
        <p:spPr>
          <a:xfrm>
            <a:off x="2412966" y="1301540"/>
            <a:ext cx="6315844" cy="234776"/>
          </a:xfrm>
          <a:custGeom>
            <a:avLst/>
            <a:gdLst>
              <a:gd name="connsiteX0" fmla="*/ 0 w 3733800"/>
              <a:gd name="connsiteY0" fmla="*/ 0 h 381000"/>
              <a:gd name="connsiteX1" fmla="*/ 3733800 w 3733800"/>
              <a:gd name="connsiteY1" fmla="*/ 0 h 381000"/>
              <a:gd name="connsiteX2" fmla="*/ 3733800 w 3733800"/>
              <a:gd name="connsiteY2" fmla="*/ 381000 h 381000"/>
              <a:gd name="connsiteX3" fmla="*/ 0 w 3733800"/>
              <a:gd name="connsiteY3" fmla="*/ 381000 h 381000"/>
              <a:gd name="connsiteX4" fmla="*/ 0 w 3733800"/>
              <a:gd name="connsiteY4" fmla="*/ 0 h 381000"/>
              <a:gd name="connsiteX0" fmla="*/ 0 w 3733800"/>
              <a:gd name="connsiteY0" fmla="*/ 0 h 381000"/>
              <a:gd name="connsiteX1" fmla="*/ 3733800 w 3733800"/>
              <a:gd name="connsiteY1" fmla="*/ 0 h 381000"/>
              <a:gd name="connsiteX2" fmla="*/ 3733800 w 3733800"/>
              <a:gd name="connsiteY2" fmla="*/ 381000 h 381000"/>
              <a:gd name="connsiteX3" fmla="*/ 239111 w 3733800"/>
              <a:gd name="connsiteY3" fmla="*/ 374952 h 381000"/>
              <a:gd name="connsiteX4" fmla="*/ 0 w 3733800"/>
              <a:gd name="connsiteY4" fmla="*/ 381000 h 381000"/>
              <a:gd name="connsiteX5" fmla="*/ 0 w 3733800"/>
              <a:gd name="connsiteY5" fmla="*/ 0 h 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33800" h="381000">
                <a:moveTo>
                  <a:pt x="0" y="0"/>
                </a:moveTo>
                <a:lnTo>
                  <a:pt x="3733800" y="0"/>
                </a:lnTo>
                <a:lnTo>
                  <a:pt x="3733800" y="381000"/>
                </a:lnTo>
                <a:lnTo>
                  <a:pt x="239111" y="374952"/>
                </a:lnTo>
                <a:lnTo>
                  <a:pt x="0" y="381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lIns="87906" tIns="43953" rIns="87906" bIns="43953" rtlCol="0" anchor="ctr"/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 Profiling  </a:t>
            </a:r>
          </a:p>
        </p:txBody>
      </p:sp>
      <p:sp>
        <p:nvSpPr>
          <p:cNvPr id="8" name="Down Arrow 7"/>
          <p:cNvSpPr/>
          <p:nvPr/>
        </p:nvSpPr>
        <p:spPr>
          <a:xfrm>
            <a:off x="8430351" y="1214006"/>
            <a:ext cx="211128" cy="260736"/>
          </a:xfrm>
          <a:prstGeom prst="downArrow">
            <a:avLst/>
          </a:prstGeom>
          <a:solidFill>
            <a:srgbClr val="1F3B9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Down Arrow 9"/>
          <p:cNvSpPr/>
          <p:nvPr/>
        </p:nvSpPr>
        <p:spPr>
          <a:xfrm rot="16200000">
            <a:off x="1932079" y="6067269"/>
            <a:ext cx="283835" cy="587849"/>
          </a:xfrm>
          <a:prstGeom prst="downArrow">
            <a:avLst/>
          </a:prstGeom>
          <a:solidFill>
            <a:srgbClr val="ADCDEC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384866" y="1867515"/>
            <a:ext cx="2311239" cy="997596"/>
          </a:xfrm>
          <a:prstGeom prst="rect">
            <a:avLst/>
          </a:prstGeom>
          <a:solidFill>
            <a:srgbClr val="219D44"/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List</a:t>
            </a:r>
            <a:br>
              <a:rPr lang="en-US" sz="10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Ops Ready (20%)</a:t>
            </a:r>
          </a:p>
          <a:p>
            <a:pPr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iteria:</a:t>
            </a:r>
          </a:p>
          <a:p>
            <a:pPr marL="182880" indent="-9144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 Stack: Java</a:t>
            </a:r>
          </a:p>
          <a:p>
            <a:pPr marL="182880" indent="-9144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loyment Method: Package based deploy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765233" y="1867514"/>
            <a:ext cx="1955326" cy="999859"/>
          </a:xfrm>
          <a:prstGeom prst="rect">
            <a:avLst/>
          </a:prstGeom>
          <a:solidFill>
            <a:srgbClr val="F6921E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 List</a:t>
            </a:r>
            <a:r>
              <a:rPr lang="en-US" sz="12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12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ed Change (30%)</a:t>
            </a:r>
          </a:p>
          <a:p>
            <a:pPr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iteria:</a:t>
            </a:r>
          </a:p>
          <a:p>
            <a:pPr marL="182880" indent="-9144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 Stack: Java, .NET, Database</a:t>
            </a:r>
          </a:p>
          <a:p>
            <a:pPr marL="182880" indent="-9144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loyment Method: Scripts, Objects, Packages with Custom Integration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779811" y="1867514"/>
            <a:ext cx="1955326" cy="1019543"/>
          </a:xfrm>
          <a:prstGeom prst="rect">
            <a:avLst/>
          </a:prstGeom>
          <a:solidFill>
            <a:srgbClr val="FC2D07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 List</a:t>
            </a:r>
            <a:r>
              <a:rPr lang="en-US" sz="12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12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 Ready (50%)</a:t>
            </a:r>
          </a:p>
          <a:p>
            <a:pPr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iteria:</a:t>
            </a:r>
          </a:p>
          <a:p>
            <a:pPr marL="182880" indent="-9144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 Stack: COTS, Legacy </a:t>
            </a:r>
          </a:p>
          <a:p>
            <a:pPr marL="182880" indent="-9144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loyment Method: scripts, objects, packages with custom integration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8822771" y="1249730"/>
            <a:ext cx="979747" cy="4869688"/>
          </a:xfrm>
          <a:prstGeom prst="rect">
            <a:avLst/>
          </a:prstGeom>
          <a:solidFill>
            <a:srgbClr val="ADCDEC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ilds: </a:t>
            </a:r>
            <a:r>
              <a:rPr lang="en-US" sz="800" b="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inuous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0" kern="0" dirty="0">
              <a:solidFill>
                <a:srgbClr val="1F3B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vironments: </a:t>
            </a:r>
            <a:r>
              <a:rPr lang="en-US" sz="800" b="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 Demand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0" kern="0" dirty="0">
              <a:solidFill>
                <a:srgbClr val="1F3B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ation Testing</a:t>
            </a:r>
            <a:r>
              <a:rPr lang="en-US" sz="90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5</a:t>
            </a:r>
            <a:r>
              <a:rPr lang="en-US" sz="800" b="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 automation coverage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0" kern="0" dirty="0">
              <a:solidFill>
                <a:srgbClr val="1F3B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lease: </a:t>
            </a:r>
            <a:r>
              <a:rPr lang="en-US" sz="90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90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</a:t>
            </a:r>
            <a:r>
              <a:rPr lang="en-US" sz="800" b="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deployments to CIT, ST. 1-click to E2E SIT, UAT, NFT, OAT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0" kern="0" dirty="0">
              <a:solidFill>
                <a:srgbClr val="1F3B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lidation: </a:t>
            </a:r>
            <a:r>
              <a:rPr lang="en-US" sz="90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90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  <a:r>
              <a:rPr lang="en-US" sz="800" b="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 automatic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0" kern="0" dirty="0">
              <a:solidFill>
                <a:srgbClr val="1F3B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gging/Monitoring: </a:t>
            </a: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al </a:t>
            </a:r>
            <a:r>
              <a:rPr lang="en-US" sz="800" b="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me ELK based</a:t>
            </a:r>
          </a:p>
        </p:txBody>
      </p:sp>
      <p:sp>
        <p:nvSpPr>
          <p:cNvPr id="17" name="Rectangle 16"/>
          <p:cNvSpPr/>
          <p:nvPr/>
        </p:nvSpPr>
        <p:spPr>
          <a:xfrm>
            <a:off x="8823222" y="881522"/>
            <a:ext cx="979747" cy="358471"/>
          </a:xfrm>
          <a:prstGeom prst="rect">
            <a:avLst/>
          </a:prstGeom>
          <a:solidFill>
            <a:srgbClr val="1F3B92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RGET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40739" y="1141786"/>
            <a:ext cx="1920588" cy="3862093"/>
          </a:xfrm>
          <a:prstGeom prst="rect">
            <a:avLst/>
          </a:prstGeom>
          <a:noFill/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394234" y="6103709"/>
            <a:ext cx="6334962" cy="5092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91081" y="5396006"/>
            <a:ext cx="1836164" cy="115414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Down Arrow 22"/>
          <p:cNvSpPr/>
          <p:nvPr/>
        </p:nvSpPr>
        <p:spPr>
          <a:xfrm rot="16200000">
            <a:off x="2091481" y="1469905"/>
            <a:ext cx="315289" cy="252887"/>
          </a:xfrm>
          <a:prstGeom prst="downArrow">
            <a:avLst/>
          </a:prstGeom>
          <a:solidFill>
            <a:srgbClr val="ADCDEC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136344" y="2087432"/>
            <a:ext cx="566271" cy="264165"/>
          </a:xfrm>
          <a:prstGeom prst="rect">
            <a:avLst/>
          </a:prstGeom>
          <a:noFill/>
        </p:spPr>
        <p:txBody>
          <a:bodyPr wrap="none" lIns="87906" tIns="43953" rIns="87906" bIns="43953" rtlCol="0">
            <a:spAutoFit/>
          </a:bodyPr>
          <a:lstStyle/>
          <a:p>
            <a:pPr defTabSz="34286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prstClr val="white">
                    <a:alpha val="7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-9 mo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041200" y="2067748"/>
            <a:ext cx="626370" cy="227264"/>
          </a:xfrm>
          <a:prstGeom prst="rect">
            <a:avLst/>
          </a:prstGeom>
          <a:noFill/>
        </p:spPr>
        <p:txBody>
          <a:bodyPr wrap="none" lIns="87906" tIns="43953" rIns="87906" bIns="43953" rtlCol="0">
            <a:spAutoFit/>
          </a:bodyPr>
          <a:lstStyle/>
          <a:p>
            <a:pPr defTabSz="34286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prstClr val="white">
                    <a:alpha val="7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-18 </a:t>
            </a:r>
            <a:r>
              <a:rPr lang="en-US" sz="900" dirty="0">
                <a:solidFill>
                  <a:prstClr val="white">
                    <a:alpha val="7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</a:t>
            </a:r>
          </a:p>
        </p:txBody>
      </p:sp>
      <p:sp>
        <p:nvSpPr>
          <p:cNvPr id="26" name="Down Arrow 25"/>
          <p:cNvSpPr/>
          <p:nvPr/>
        </p:nvSpPr>
        <p:spPr>
          <a:xfrm>
            <a:off x="7659499" y="1851365"/>
            <a:ext cx="195950" cy="178401"/>
          </a:xfrm>
          <a:prstGeom prst="downArrow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Down Arrow 26"/>
          <p:cNvSpPr/>
          <p:nvPr/>
        </p:nvSpPr>
        <p:spPr>
          <a:xfrm>
            <a:off x="3442511" y="1855627"/>
            <a:ext cx="195950" cy="178401"/>
          </a:xfrm>
          <a:prstGeom prst="downArrow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Down Arrow 27"/>
          <p:cNvSpPr/>
          <p:nvPr/>
        </p:nvSpPr>
        <p:spPr>
          <a:xfrm>
            <a:off x="5644921" y="1856787"/>
            <a:ext cx="195950" cy="178401"/>
          </a:xfrm>
          <a:prstGeom prst="downArrow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321387" y="5149357"/>
            <a:ext cx="510954" cy="227264"/>
          </a:xfrm>
          <a:prstGeom prst="rect">
            <a:avLst/>
          </a:prstGeom>
          <a:noFill/>
        </p:spPr>
        <p:txBody>
          <a:bodyPr wrap="none" lIns="87906" tIns="43953" rIns="87906" bIns="43953" rtlCol="0">
            <a:spAutoFit/>
          </a:bodyPr>
          <a:lstStyle/>
          <a:p>
            <a:pPr defTabSz="34286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370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-9 </a:t>
            </a:r>
            <a:r>
              <a:rPr lang="en-US" sz="900" dirty="0">
                <a:solidFill>
                  <a:srgbClr val="F370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495056" y="885017"/>
            <a:ext cx="566271" cy="264165"/>
          </a:xfrm>
          <a:prstGeom prst="rect">
            <a:avLst/>
          </a:prstGeom>
          <a:noFill/>
        </p:spPr>
        <p:txBody>
          <a:bodyPr wrap="none" lIns="87906" tIns="43953" rIns="87906" bIns="43953" rtlCol="0">
            <a:spAutoFit/>
          </a:bodyPr>
          <a:lstStyle/>
          <a:p>
            <a:pPr algn="r" defTabSz="34286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F370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-3 mo</a:t>
            </a:r>
          </a:p>
        </p:txBody>
      </p:sp>
      <p:sp>
        <p:nvSpPr>
          <p:cNvPr id="34" name="Rectangle 33"/>
          <p:cNvSpPr/>
          <p:nvPr/>
        </p:nvSpPr>
        <p:spPr>
          <a:xfrm>
            <a:off x="8823222" y="6119418"/>
            <a:ext cx="979747" cy="503414"/>
          </a:xfrm>
          <a:prstGeom prst="rect">
            <a:avLst/>
          </a:prstGeom>
          <a:solidFill>
            <a:srgbClr val="1F3B92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-9 MONTH JOURNEY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7467763" y="6512060"/>
            <a:ext cx="1249010" cy="107684"/>
            <a:chOff x="3632200" y="4781550"/>
            <a:chExt cx="2057731" cy="168842"/>
          </a:xfrm>
          <a:solidFill>
            <a:srgbClr val="1F3B92"/>
          </a:solidFill>
        </p:grpSpPr>
        <p:sp>
          <p:nvSpPr>
            <p:cNvPr id="64" name="Freeform 63"/>
            <p:cNvSpPr/>
            <p:nvPr/>
          </p:nvSpPr>
          <p:spPr>
            <a:xfrm rot="60000">
              <a:off x="5105400" y="4781550"/>
              <a:ext cx="584531" cy="168842"/>
            </a:xfrm>
            <a:custGeom>
              <a:avLst/>
              <a:gdLst>
                <a:gd name="connsiteX0" fmla="*/ 0 w 603504"/>
                <a:gd name="connsiteY0" fmla="*/ 201185 h 201185"/>
                <a:gd name="connsiteX1" fmla="*/ 256032 w 603504"/>
                <a:gd name="connsiteY1" fmla="*/ 17 h 201185"/>
                <a:gd name="connsiteX2" fmla="*/ 603504 w 603504"/>
                <a:gd name="connsiteY2" fmla="*/ 192041 h 201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3504" h="201185">
                  <a:moveTo>
                    <a:pt x="0" y="201185"/>
                  </a:moveTo>
                  <a:cubicBezTo>
                    <a:pt x="77724" y="101363"/>
                    <a:pt x="155448" y="1541"/>
                    <a:pt x="256032" y="17"/>
                  </a:cubicBezTo>
                  <a:cubicBezTo>
                    <a:pt x="356616" y="-1507"/>
                    <a:pt x="480060" y="95267"/>
                    <a:pt x="603504" y="192041"/>
                  </a:cubicBezTo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5" name="Freeform 64"/>
            <p:cNvSpPr/>
            <p:nvPr/>
          </p:nvSpPr>
          <p:spPr>
            <a:xfrm rot="60000">
              <a:off x="4622800" y="4781550"/>
              <a:ext cx="584531" cy="168842"/>
            </a:xfrm>
            <a:custGeom>
              <a:avLst/>
              <a:gdLst>
                <a:gd name="connsiteX0" fmla="*/ 0 w 603504"/>
                <a:gd name="connsiteY0" fmla="*/ 201185 h 201185"/>
                <a:gd name="connsiteX1" fmla="*/ 256032 w 603504"/>
                <a:gd name="connsiteY1" fmla="*/ 17 h 201185"/>
                <a:gd name="connsiteX2" fmla="*/ 603504 w 603504"/>
                <a:gd name="connsiteY2" fmla="*/ 192041 h 201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3504" h="201185">
                  <a:moveTo>
                    <a:pt x="0" y="201185"/>
                  </a:moveTo>
                  <a:cubicBezTo>
                    <a:pt x="77724" y="101363"/>
                    <a:pt x="155448" y="1541"/>
                    <a:pt x="256032" y="17"/>
                  </a:cubicBezTo>
                  <a:cubicBezTo>
                    <a:pt x="356616" y="-1507"/>
                    <a:pt x="480060" y="95267"/>
                    <a:pt x="603504" y="192041"/>
                  </a:cubicBezTo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6" name="Freeform 65"/>
            <p:cNvSpPr/>
            <p:nvPr/>
          </p:nvSpPr>
          <p:spPr>
            <a:xfrm rot="60000">
              <a:off x="4114800" y="4781550"/>
              <a:ext cx="584531" cy="168842"/>
            </a:xfrm>
            <a:custGeom>
              <a:avLst/>
              <a:gdLst>
                <a:gd name="connsiteX0" fmla="*/ 0 w 603504"/>
                <a:gd name="connsiteY0" fmla="*/ 201185 h 201185"/>
                <a:gd name="connsiteX1" fmla="*/ 256032 w 603504"/>
                <a:gd name="connsiteY1" fmla="*/ 17 h 201185"/>
                <a:gd name="connsiteX2" fmla="*/ 603504 w 603504"/>
                <a:gd name="connsiteY2" fmla="*/ 192041 h 201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3504" h="201185">
                  <a:moveTo>
                    <a:pt x="0" y="201185"/>
                  </a:moveTo>
                  <a:cubicBezTo>
                    <a:pt x="77724" y="101363"/>
                    <a:pt x="155448" y="1541"/>
                    <a:pt x="256032" y="17"/>
                  </a:cubicBezTo>
                  <a:cubicBezTo>
                    <a:pt x="356616" y="-1507"/>
                    <a:pt x="480060" y="95267"/>
                    <a:pt x="603504" y="192041"/>
                  </a:cubicBezTo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7" name="Freeform 66"/>
            <p:cNvSpPr/>
            <p:nvPr/>
          </p:nvSpPr>
          <p:spPr>
            <a:xfrm rot="60000">
              <a:off x="3632200" y="4781550"/>
              <a:ext cx="584531" cy="168842"/>
            </a:xfrm>
            <a:custGeom>
              <a:avLst/>
              <a:gdLst>
                <a:gd name="connsiteX0" fmla="*/ 0 w 603504"/>
                <a:gd name="connsiteY0" fmla="*/ 201185 h 201185"/>
                <a:gd name="connsiteX1" fmla="*/ 256032 w 603504"/>
                <a:gd name="connsiteY1" fmla="*/ 17 h 201185"/>
                <a:gd name="connsiteX2" fmla="*/ 603504 w 603504"/>
                <a:gd name="connsiteY2" fmla="*/ 192041 h 201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3504" h="201185">
                  <a:moveTo>
                    <a:pt x="0" y="201185"/>
                  </a:moveTo>
                  <a:cubicBezTo>
                    <a:pt x="77724" y="101363"/>
                    <a:pt x="155448" y="1541"/>
                    <a:pt x="256032" y="17"/>
                  </a:cubicBezTo>
                  <a:cubicBezTo>
                    <a:pt x="356616" y="-1507"/>
                    <a:pt x="480060" y="95267"/>
                    <a:pt x="603504" y="192041"/>
                  </a:cubicBezTo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6" name="Rectangle 35"/>
          <p:cNvSpPr/>
          <p:nvPr/>
        </p:nvSpPr>
        <p:spPr>
          <a:xfrm>
            <a:off x="99515" y="5423073"/>
            <a:ext cx="1835775" cy="286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6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Ops Platform Build Out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221277" y="5769662"/>
            <a:ext cx="1620352" cy="638859"/>
            <a:chOff x="304797" y="4131459"/>
            <a:chExt cx="1667935" cy="549617"/>
          </a:xfrm>
        </p:grpSpPr>
        <p:sp>
          <p:nvSpPr>
            <p:cNvPr id="61" name="Freeform 60"/>
            <p:cNvSpPr/>
            <p:nvPr/>
          </p:nvSpPr>
          <p:spPr>
            <a:xfrm>
              <a:off x="304797" y="4131459"/>
              <a:ext cx="1667935" cy="161377"/>
            </a:xfrm>
            <a:custGeom>
              <a:avLst/>
              <a:gdLst>
                <a:gd name="connsiteX0" fmla="*/ 0 w 1521438"/>
                <a:gd name="connsiteY0" fmla="*/ 26897 h 161377"/>
                <a:gd name="connsiteX1" fmla="*/ 26897 w 1521438"/>
                <a:gd name="connsiteY1" fmla="*/ 0 h 161377"/>
                <a:gd name="connsiteX2" fmla="*/ 1494541 w 1521438"/>
                <a:gd name="connsiteY2" fmla="*/ 0 h 161377"/>
                <a:gd name="connsiteX3" fmla="*/ 1521438 w 1521438"/>
                <a:gd name="connsiteY3" fmla="*/ 26897 h 161377"/>
                <a:gd name="connsiteX4" fmla="*/ 1521438 w 1521438"/>
                <a:gd name="connsiteY4" fmla="*/ 134480 h 161377"/>
                <a:gd name="connsiteX5" fmla="*/ 1494541 w 1521438"/>
                <a:gd name="connsiteY5" fmla="*/ 161377 h 161377"/>
                <a:gd name="connsiteX6" fmla="*/ 26897 w 1521438"/>
                <a:gd name="connsiteY6" fmla="*/ 161377 h 161377"/>
                <a:gd name="connsiteX7" fmla="*/ 0 w 1521438"/>
                <a:gd name="connsiteY7" fmla="*/ 134480 h 161377"/>
                <a:gd name="connsiteX8" fmla="*/ 0 w 1521438"/>
                <a:gd name="connsiteY8" fmla="*/ 26897 h 1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1438" h="161377">
                  <a:moveTo>
                    <a:pt x="0" y="26897"/>
                  </a:moveTo>
                  <a:cubicBezTo>
                    <a:pt x="0" y="12042"/>
                    <a:pt x="12042" y="0"/>
                    <a:pt x="26897" y="0"/>
                  </a:cubicBezTo>
                  <a:lnTo>
                    <a:pt x="1494541" y="0"/>
                  </a:lnTo>
                  <a:cubicBezTo>
                    <a:pt x="1509396" y="0"/>
                    <a:pt x="1521438" y="12042"/>
                    <a:pt x="1521438" y="26897"/>
                  </a:cubicBezTo>
                  <a:lnTo>
                    <a:pt x="1521438" y="134480"/>
                  </a:lnTo>
                  <a:cubicBezTo>
                    <a:pt x="1521438" y="149335"/>
                    <a:pt x="1509396" y="161377"/>
                    <a:pt x="1494541" y="161377"/>
                  </a:cubicBezTo>
                  <a:lnTo>
                    <a:pt x="26897" y="161377"/>
                  </a:lnTo>
                  <a:cubicBezTo>
                    <a:pt x="12042" y="161377"/>
                    <a:pt x="0" y="149335"/>
                    <a:pt x="0" y="134480"/>
                  </a:cubicBezTo>
                  <a:lnTo>
                    <a:pt x="0" y="26897"/>
                  </a:lnTo>
                  <a:close/>
                </a:path>
              </a:pathLst>
            </a:custGeom>
            <a:solidFill>
              <a:srgbClr val="1F3B92"/>
            </a:soli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plastic"/>
          </p:spPr>
          <p:txBody>
            <a:bodyPr spcFirstLastPara="0" vert="horz" wrap="square" lIns="38358" tIns="0" rIns="38358" bIns="18288" numCol="1" spcCol="1270" anchor="ctr" anchorCtr="0">
              <a:noAutofit/>
            </a:bodyPr>
            <a:lstStyle/>
            <a:p>
              <a:pPr algn="ctr" defTabSz="3556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800" b="0" kern="0" dirty="0" smtClean="0">
                  <a:ln/>
                  <a:solidFill>
                    <a:prstClr val="white"/>
                  </a:solidFill>
                  <a:latin typeface="Calibri"/>
                  <a:cs typeface="Arial"/>
                </a:rPr>
                <a:t>Base </a:t>
              </a:r>
              <a:r>
                <a:rPr lang="en-US" sz="800" b="0" kern="0" dirty="0" err="1" smtClean="0">
                  <a:ln/>
                  <a:solidFill>
                    <a:prstClr val="white"/>
                  </a:solidFill>
                  <a:latin typeface="Calibri"/>
                  <a:cs typeface="Arial"/>
                </a:rPr>
                <a:t>Impl</a:t>
              </a:r>
              <a:endParaRPr lang="en-US" sz="800" b="0" kern="0" dirty="0" smtClean="0">
                <a:ln/>
                <a:solidFill>
                  <a:prstClr val="white"/>
                </a:solidFill>
                <a:latin typeface="Calibri"/>
                <a:cs typeface="Arial"/>
              </a:endParaRPr>
            </a:p>
          </p:txBody>
        </p:sp>
        <p:sp>
          <p:nvSpPr>
            <p:cNvPr id="62" name="Freeform 61"/>
            <p:cNvSpPr/>
            <p:nvPr/>
          </p:nvSpPr>
          <p:spPr>
            <a:xfrm>
              <a:off x="304797" y="4325579"/>
              <a:ext cx="1667935" cy="161377"/>
            </a:xfrm>
            <a:custGeom>
              <a:avLst/>
              <a:gdLst>
                <a:gd name="connsiteX0" fmla="*/ 0 w 1521438"/>
                <a:gd name="connsiteY0" fmla="*/ 26897 h 161377"/>
                <a:gd name="connsiteX1" fmla="*/ 26897 w 1521438"/>
                <a:gd name="connsiteY1" fmla="*/ 0 h 161377"/>
                <a:gd name="connsiteX2" fmla="*/ 1494541 w 1521438"/>
                <a:gd name="connsiteY2" fmla="*/ 0 h 161377"/>
                <a:gd name="connsiteX3" fmla="*/ 1521438 w 1521438"/>
                <a:gd name="connsiteY3" fmla="*/ 26897 h 161377"/>
                <a:gd name="connsiteX4" fmla="*/ 1521438 w 1521438"/>
                <a:gd name="connsiteY4" fmla="*/ 134480 h 161377"/>
                <a:gd name="connsiteX5" fmla="*/ 1494541 w 1521438"/>
                <a:gd name="connsiteY5" fmla="*/ 161377 h 161377"/>
                <a:gd name="connsiteX6" fmla="*/ 26897 w 1521438"/>
                <a:gd name="connsiteY6" fmla="*/ 161377 h 161377"/>
                <a:gd name="connsiteX7" fmla="*/ 0 w 1521438"/>
                <a:gd name="connsiteY7" fmla="*/ 134480 h 161377"/>
                <a:gd name="connsiteX8" fmla="*/ 0 w 1521438"/>
                <a:gd name="connsiteY8" fmla="*/ 26897 h 1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1438" h="161377">
                  <a:moveTo>
                    <a:pt x="0" y="26897"/>
                  </a:moveTo>
                  <a:cubicBezTo>
                    <a:pt x="0" y="12042"/>
                    <a:pt x="12042" y="0"/>
                    <a:pt x="26897" y="0"/>
                  </a:cubicBezTo>
                  <a:lnTo>
                    <a:pt x="1494541" y="0"/>
                  </a:lnTo>
                  <a:cubicBezTo>
                    <a:pt x="1509396" y="0"/>
                    <a:pt x="1521438" y="12042"/>
                    <a:pt x="1521438" y="26897"/>
                  </a:cubicBezTo>
                  <a:lnTo>
                    <a:pt x="1521438" y="134480"/>
                  </a:lnTo>
                  <a:cubicBezTo>
                    <a:pt x="1521438" y="149335"/>
                    <a:pt x="1509396" y="161377"/>
                    <a:pt x="1494541" y="161377"/>
                  </a:cubicBezTo>
                  <a:lnTo>
                    <a:pt x="26897" y="161377"/>
                  </a:lnTo>
                  <a:cubicBezTo>
                    <a:pt x="12042" y="161377"/>
                    <a:pt x="0" y="149335"/>
                    <a:pt x="0" y="134480"/>
                  </a:cubicBezTo>
                  <a:lnTo>
                    <a:pt x="0" y="26897"/>
                  </a:lnTo>
                  <a:close/>
                </a:path>
              </a:pathLst>
            </a:custGeom>
            <a:solidFill>
              <a:srgbClr val="1F3B92"/>
            </a:soli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plastic"/>
          </p:spPr>
          <p:txBody>
            <a:bodyPr spcFirstLastPara="0" vert="horz" wrap="square" lIns="38358" tIns="0" rIns="38358" bIns="18288" numCol="1" spcCol="1270" anchor="ctr" anchorCtr="0">
              <a:noAutofit/>
            </a:bodyPr>
            <a:lstStyle/>
            <a:p>
              <a:pPr algn="ctr" defTabSz="3556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800" b="0" kern="0" dirty="0" smtClean="0">
                  <a:ln/>
                  <a:solidFill>
                    <a:prstClr val="white"/>
                  </a:solidFill>
                  <a:latin typeface="Calibri"/>
                  <a:cs typeface="Arial"/>
                </a:rPr>
                <a:t>Customization</a:t>
              </a:r>
            </a:p>
          </p:txBody>
        </p:sp>
        <p:sp>
          <p:nvSpPr>
            <p:cNvPr id="63" name="Freeform 62"/>
            <p:cNvSpPr/>
            <p:nvPr/>
          </p:nvSpPr>
          <p:spPr>
            <a:xfrm>
              <a:off x="304797" y="4519699"/>
              <a:ext cx="1667935" cy="161377"/>
            </a:xfrm>
            <a:custGeom>
              <a:avLst/>
              <a:gdLst>
                <a:gd name="connsiteX0" fmla="*/ 0 w 1521438"/>
                <a:gd name="connsiteY0" fmla="*/ 26897 h 161377"/>
                <a:gd name="connsiteX1" fmla="*/ 26897 w 1521438"/>
                <a:gd name="connsiteY1" fmla="*/ 0 h 161377"/>
                <a:gd name="connsiteX2" fmla="*/ 1494541 w 1521438"/>
                <a:gd name="connsiteY2" fmla="*/ 0 h 161377"/>
                <a:gd name="connsiteX3" fmla="*/ 1521438 w 1521438"/>
                <a:gd name="connsiteY3" fmla="*/ 26897 h 161377"/>
                <a:gd name="connsiteX4" fmla="*/ 1521438 w 1521438"/>
                <a:gd name="connsiteY4" fmla="*/ 134480 h 161377"/>
                <a:gd name="connsiteX5" fmla="*/ 1494541 w 1521438"/>
                <a:gd name="connsiteY5" fmla="*/ 161377 h 161377"/>
                <a:gd name="connsiteX6" fmla="*/ 26897 w 1521438"/>
                <a:gd name="connsiteY6" fmla="*/ 161377 h 161377"/>
                <a:gd name="connsiteX7" fmla="*/ 0 w 1521438"/>
                <a:gd name="connsiteY7" fmla="*/ 134480 h 161377"/>
                <a:gd name="connsiteX8" fmla="*/ 0 w 1521438"/>
                <a:gd name="connsiteY8" fmla="*/ 26897 h 1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1438" h="161377">
                  <a:moveTo>
                    <a:pt x="0" y="26897"/>
                  </a:moveTo>
                  <a:cubicBezTo>
                    <a:pt x="0" y="12042"/>
                    <a:pt x="12042" y="0"/>
                    <a:pt x="26897" y="0"/>
                  </a:cubicBezTo>
                  <a:lnTo>
                    <a:pt x="1494541" y="0"/>
                  </a:lnTo>
                  <a:cubicBezTo>
                    <a:pt x="1509396" y="0"/>
                    <a:pt x="1521438" y="12042"/>
                    <a:pt x="1521438" y="26897"/>
                  </a:cubicBezTo>
                  <a:lnTo>
                    <a:pt x="1521438" y="134480"/>
                  </a:lnTo>
                  <a:cubicBezTo>
                    <a:pt x="1521438" y="149335"/>
                    <a:pt x="1509396" y="161377"/>
                    <a:pt x="1494541" y="161377"/>
                  </a:cubicBezTo>
                  <a:lnTo>
                    <a:pt x="26897" y="161377"/>
                  </a:lnTo>
                  <a:cubicBezTo>
                    <a:pt x="12042" y="161377"/>
                    <a:pt x="0" y="149335"/>
                    <a:pt x="0" y="134480"/>
                  </a:cubicBezTo>
                  <a:lnTo>
                    <a:pt x="0" y="26897"/>
                  </a:lnTo>
                  <a:close/>
                </a:path>
              </a:pathLst>
            </a:custGeom>
            <a:solidFill>
              <a:srgbClr val="1F3B92"/>
            </a:soli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plastic"/>
          </p:spPr>
          <p:txBody>
            <a:bodyPr spcFirstLastPara="0" vert="horz" wrap="square" lIns="38358" tIns="0" rIns="38358" bIns="18288" numCol="1" spcCol="1270" anchor="ctr" anchorCtr="0">
              <a:noAutofit/>
            </a:bodyPr>
            <a:lstStyle/>
            <a:p>
              <a:pPr algn="ctr" defTabSz="3556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800" b="0" kern="0" dirty="0" smtClean="0">
                  <a:ln/>
                  <a:solidFill>
                    <a:prstClr val="white"/>
                  </a:solidFill>
                  <a:latin typeface="Calibri"/>
                  <a:cs typeface="Arial"/>
                </a:rPr>
                <a:t>Enterprise Integration</a:t>
              </a:r>
            </a:p>
          </p:txBody>
        </p:sp>
      </p:grpSp>
      <p:sp>
        <p:nvSpPr>
          <p:cNvPr id="38" name="Rectangle 37"/>
          <p:cNvSpPr/>
          <p:nvPr/>
        </p:nvSpPr>
        <p:spPr>
          <a:xfrm>
            <a:off x="2487955" y="6309170"/>
            <a:ext cx="5732104" cy="269319"/>
          </a:xfrm>
          <a:prstGeom prst="rect">
            <a:avLst/>
          </a:prstGeom>
          <a:noFill/>
          <a:ln w="12700" cap="flat" cmpd="sng" algn="ctr">
            <a:noFill/>
            <a:prstDash val="sysDash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3428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i="1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iderations</a:t>
            </a:r>
            <a:r>
              <a:rPr lang="en-US" sz="900" b="0" i="1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LOB Specific Customization  |  Zero disruption  |  4 Wave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262499" y="1267203"/>
            <a:ext cx="1732743" cy="11090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Ops Enablement Framework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9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 Stack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9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Ops Readiness Evaluation 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9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ch Evaluation</a:t>
            </a:r>
          </a:p>
        </p:txBody>
      </p:sp>
      <p:sp>
        <p:nvSpPr>
          <p:cNvPr id="40" name="Rectangle 39"/>
          <p:cNvSpPr/>
          <p:nvPr/>
        </p:nvSpPr>
        <p:spPr>
          <a:xfrm>
            <a:off x="262499" y="2566267"/>
            <a:ext cx="1863872" cy="11090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rclays Inputs and Dimensions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9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$$ - ESI Investment level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9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## - Strategic importance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9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% - Future Growth potential</a:t>
            </a:r>
          </a:p>
        </p:txBody>
      </p:sp>
      <p:sp>
        <p:nvSpPr>
          <p:cNvPr id="46" name="Rectangle 45"/>
          <p:cNvSpPr/>
          <p:nvPr/>
        </p:nvSpPr>
        <p:spPr>
          <a:xfrm>
            <a:off x="2477476" y="6101446"/>
            <a:ext cx="1949222" cy="3219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 On-boarding</a:t>
            </a:r>
          </a:p>
        </p:txBody>
      </p:sp>
      <p:grpSp>
        <p:nvGrpSpPr>
          <p:cNvPr id="47" name="Group 46"/>
          <p:cNvGrpSpPr/>
          <p:nvPr/>
        </p:nvGrpSpPr>
        <p:grpSpPr>
          <a:xfrm>
            <a:off x="8392503" y="1955869"/>
            <a:ext cx="240250" cy="62830"/>
            <a:chOff x="7653193" y="1919133"/>
            <a:chExt cx="271607" cy="67600"/>
          </a:xfrm>
        </p:grpSpPr>
        <p:sp>
          <p:nvSpPr>
            <p:cNvPr id="58" name="Oval 57"/>
            <p:cNvSpPr/>
            <p:nvPr/>
          </p:nvSpPr>
          <p:spPr>
            <a:xfrm>
              <a:off x="7653193" y="1919133"/>
              <a:ext cx="67248" cy="67600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FC2D07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9" name="Oval 58"/>
            <p:cNvSpPr/>
            <p:nvPr/>
          </p:nvSpPr>
          <p:spPr>
            <a:xfrm>
              <a:off x="7754791" y="1919133"/>
              <a:ext cx="67248" cy="67600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FC2D07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7857552" y="1919133"/>
              <a:ext cx="67248" cy="67600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FC2D07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1" name="Rectangle 50"/>
          <p:cNvSpPr/>
          <p:nvPr/>
        </p:nvSpPr>
        <p:spPr>
          <a:xfrm>
            <a:off x="7620569" y="6108562"/>
            <a:ext cx="900794" cy="35775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i="1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 </a:t>
            </a:r>
            <a:r>
              <a:rPr lang="en-US" sz="1400" i="1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aves</a:t>
            </a:r>
            <a:endParaRPr lang="en-US" sz="1400" dirty="0">
              <a:solidFill>
                <a:srgbClr val="3C3C3C"/>
              </a:solidFill>
              <a:latin typeface="Calibri"/>
            </a:endParaRPr>
          </a:p>
        </p:txBody>
      </p:sp>
      <p:sp>
        <p:nvSpPr>
          <p:cNvPr id="52" name="Down Arrow 51"/>
          <p:cNvSpPr/>
          <p:nvPr/>
        </p:nvSpPr>
        <p:spPr>
          <a:xfrm>
            <a:off x="2660782" y="1214006"/>
            <a:ext cx="211128" cy="260736"/>
          </a:xfrm>
          <a:prstGeom prst="downArrow">
            <a:avLst/>
          </a:prstGeom>
          <a:solidFill>
            <a:srgbClr val="1F3B9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" name="Rectangle 4"/>
          <p:cNvSpPr/>
          <p:nvPr/>
        </p:nvSpPr>
        <p:spPr>
          <a:xfrm>
            <a:off x="2356769" y="834158"/>
            <a:ext cx="6372041" cy="426446"/>
          </a:xfrm>
          <a:custGeom>
            <a:avLst/>
            <a:gdLst>
              <a:gd name="connsiteX0" fmla="*/ 0 w 3733800"/>
              <a:gd name="connsiteY0" fmla="*/ 0 h 381000"/>
              <a:gd name="connsiteX1" fmla="*/ 3733800 w 3733800"/>
              <a:gd name="connsiteY1" fmla="*/ 0 h 381000"/>
              <a:gd name="connsiteX2" fmla="*/ 3733800 w 3733800"/>
              <a:gd name="connsiteY2" fmla="*/ 381000 h 381000"/>
              <a:gd name="connsiteX3" fmla="*/ 0 w 3733800"/>
              <a:gd name="connsiteY3" fmla="*/ 381000 h 381000"/>
              <a:gd name="connsiteX4" fmla="*/ 0 w 3733800"/>
              <a:gd name="connsiteY4" fmla="*/ 0 h 381000"/>
              <a:gd name="connsiteX0" fmla="*/ 0 w 3733800"/>
              <a:gd name="connsiteY0" fmla="*/ 0 h 381000"/>
              <a:gd name="connsiteX1" fmla="*/ 3733800 w 3733800"/>
              <a:gd name="connsiteY1" fmla="*/ 0 h 381000"/>
              <a:gd name="connsiteX2" fmla="*/ 3733800 w 3733800"/>
              <a:gd name="connsiteY2" fmla="*/ 381000 h 381000"/>
              <a:gd name="connsiteX3" fmla="*/ 239111 w 3733800"/>
              <a:gd name="connsiteY3" fmla="*/ 374952 h 381000"/>
              <a:gd name="connsiteX4" fmla="*/ 0 w 3733800"/>
              <a:gd name="connsiteY4" fmla="*/ 381000 h 381000"/>
              <a:gd name="connsiteX5" fmla="*/ 0 w 3733800"/>
              <a:gd name="connsiteY5" fmla="*/ 0 h 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33800" h="381000">
                <a:moveTo>
                  <a:pt x="0" y="0"/>
                </a:moveTo>
                <a:lnTo>
                  <a:pt x="3733800" y="0"/>
                </a:lnTo>
                <a:lnTo>
                  <a:pt x="3733800" y="381000"/>
                </a:lnTo>
                <a:lnTo>
                  <a:pt x="239111" y="374952"/>
                </a:lnTo>
                <a:lnTo>
                  <a:pt x="0" y="381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lIns="87906" tIns="43953" rIns="87906" bIns="43953" rtlCol="0" anchor="ctr"/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rclays Application Ecosystem</a:t>
            </a:r>
          </a:p>
          <a:p>
            <a:pPr algn="ctr" defTabSz="342866" fontAlgn="auto">
              <a:spcBef>
                <a:spcPts val="0"/>
              </a:spcBef>
              <a:spcAft>
                <a:spcPts val="0"/>
              </a:spcAft>
              <a:tabLst>
                <a:tab pos="5991638" algn="r"/>
              </a:tabLst>
              <a:defRPr/>
            </a:pPr>
            <a:r>
              <a:rPr lang="en-US" sz="900" b="0" i="1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yments | Corporate | … </a:t>
            </a:r>
            <a:r>
              <a:rPr lang="en-US" sz="800" b="0" i="1" kern="0" dirty="0" smtClean="0">
                <a:solidFill>
                  <a:srgbClr val="F370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va | .NET |  Siebel | … 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6178170" y="2087432"/>
            <a:ext cx="568662" cy="227264"/>
          </a:xfrm>
          <a:prstGeom prst="rect">
            <a:avLst/>
          </a:prstGeom>
          <a:noFill/>
        </p:spPr>
        <p:txBody>
          <a:bodyPr wrap="none" lIns="87906" tIns="43953" rIns="87906" bIns="43953" rtlCol="0">
            <a:spAutoFit/>
          </a:bodyPr>
          <a:lstStyle/>
          <a:p>
            <a:pPr defTabSz="34286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prstClr val="white">
                    <a:alpha val="7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-12 </a:t>
            </a:r>
            <a:r>
              <a:rPr lang="en-US" sz="900" dirty="0">
                <a:solidFill>
                  <a:prstClr val="white">
                    <a:alpha val="7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</a:t>
            </a:r>
          </a:p>
        </p:txBody>
      </p:sp>
      <p:sp>
        <p:nvSpPr>
          <p:cNvPr id="55" name="Oval 54"/>
          <p:cNvSpPr/>
          <p:nvPr/>
        </p:nvSpPr>
        <p:spPr>
          <a:xfrm>
            <a:off x="6462442" y="1955869"/>
            <a:ext cx="59485" cy="6283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/>
        </p:spPr>
        <p:txBody>
          <a:bodyPr rtlCol="0" anchor="ctr"/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srgbClr val="FC2D0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" name="Oval 55"/>
          <p:cNvSpPr/>
          <p:nvPr/>
        </p:nvSpPr>
        <p:spPr>
          <a:xfrm>
            <a:off x="6553339" y="1955869"/>
            <a:ext cx="59485" cy="6283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/>
        </p:spPr>
        <p:txBody>
          <a:bodyPr rtlCol="0" anchor="ctr"/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srgbClr val="FC2D0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Oval 56"/>
          <p:cNvSpPr/>
          <p:nvPr/>
        </p:nvSpPr>
        <p:spPr>
          <a:xfrm>
            <a:off x="4533410" y="1955869"/>
            <a:ext cx="59485" cy="6283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/>
        </p:spPr>
        <p:txBody>
          <a:bodyPr rtlCol="0" anchor="ctr"/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srgbClr val="FC2D0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0" name="Down Arrow 69"/>
          <p:cNvSpPr/>
          <p:nvPr/>
        </p:nvSpPr>
        <p:spPr>
          <a:xfrm>
            <a:off x="3419999" y="5926046"/>
            <a:ext cx="240970" cy="280394"/>
          </a:xfrm>
          <a:prstGeom prst="downArrow">
            <a:avLst/>
          </a:prstGeom>
          <a:solidFill>
            <a:srgbClr val="1F3B9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1" name="Down Arrow 70"/>
          <p:cNvSpPr/>
          <p:nvPr/>
        </p:nvSpPr>
        <p:spPr>
          <a:xfrm>
            <a:off x="3341818" y="2841940"/>
            <a:ext cx="397333" cy="208362"/>
          </a:xfrm>
          <a:prstGeom prst="downArrow">
            <a:avLst/>
          </a:prstGeom>
          <a:solidFill>
            <a:srgbClr val="00B050"/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0" kern="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69" name="Diagram 68"/>
          <p:cNvGraphicFramePr/>
          <p:nvPr>
            <p:extLst/>
          </p:nvPr>
        </p:nvGraphicFramePr>
        <p:xfrm>
          <a:off x="2412966" y="3050303"/>
          <a:ext cx="2318823" cy="28925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8909786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Rectangle 2"/>
          <p:cNvSpPr>
            <a:spLocks noChangeArrowheads="1"/>
          </p:cNvSpPr>
          <p:nvPr/>
        </p:nvSpPr>
        <p:spPr bwMode="auto">
          <a:xfrm>
            <a:off x="2650156" y="188915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US" sz="2400" b="0" dirty="0" smtClean="0">
                <a:solidFill>
                  <a:srgbClr val="00A4E8"/>
                </a:solidFill>
              </a:rPr>
              <a:t>Delivery</a:t>
            </a:r>
            <a:endParaRPr lang="en-US" sz="2400" b="0" dirty="0">
              <a:solidFill>
                <a:srgbClr val="00A4E8"/>
              </a:solidFill>
            </a:endParaRPr>
          </a:p>
        </p:txBody>
      </p:sp>
      <p:sp>
        <p:nvSpPr>
          <p:cNvPr id="4" name="Rectangle 4"/>
          <p:cNvSpPr/>
          <p:nvPr/>
        </p:nvSpPr>
        <p:spPr>
          <a:xfrm>
            <a:off x="2412966" y="1586941"/>
            <a:ext cx="6315844" cy="234776"/>
          </a:xfrm>
          <a:custGeom>
            <a:avLst/>
            <a:gdLst>
              <a:gd name="connsiteX0" fmla="*/ 0 w 3733800"/>
              <a:gd name="connsiteY0" fmla="*/ 0 h 381000"/>
              <a:gd name="connsiteX1" fmla="*/ 3733800 w 3733800"/>
              <a:gd name="connsiteY1" fmla="*/ 0 h 381000"/>
              <a:gd name="connsiteX2" fmla="*/ 3733800 w 3733800"/>
              <a:gd name="connsiteY2" fmla="*/ 381000 h 381000"/>
              <a:gd name="connsiteX3" fmla="*/ 0 w 3733800"/>
              <a:gd name="connsiteY3" fmla="*/ 381000 h 381000"/>
              <a:gd name="connsiteX4" fmla="*/ 0 w 3733800"/>
              <a:gd name="connsiteY4" fmla="*/ 0 h 381000"/>
              <a:gd name="connsiteX0" fmla="*/ 0 w 3733800"/>
              <a:gd name="connsiteY0" fmla="*/ 0 h 381000"/>
              <a:gd name="connsiteX1" fmla="*/ 3733800 w 3733800"/>
              <a:gd name="connsiteY1" fmla="*/ 0 h 381000"/>
              <a:gd name="connsiteX2" fmla="*/ 3733800 w 3733800"/>
              <a:gd name="connsiteY2" fmla="*/ 381000 h 381000"/>
              <a:gd name="connsiteX3" fmla="*/ 239111 w 3733800"/>
              <a:gd name="connsiteY3" fmla="*/ 374952 h 381000"/>
              <a:gd name="connsiteX4" fmla="*/ 0 w 3733800"/>
              <a:gd name="connsiteY4" fmla="*/ 381000 h 381000"/>
              <a:gd name="connsiteX5" fmla="*/ 0 w 3733800"/>
              <a:gd name="connsiteY5" fmla="*/ 0 h 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33800" h="381000">
                <a:moveTo>
                  <a:pt x="0" y="0"/>
                </a:moveTo>
                <a:lnTo>
                  <a:pt x="3733800" y="0"/>
                </a:lnTo>
                <a:lnTo>
                  <a:pt x="3733800" y="381000"/>
                </a:lnTo>
                <a:lnTo>
                  <a:pt x="239111" y="374952"/>
                </a:lnTo>
                <a:lnTo>
                  <a:pt x="0" y="381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lIns="87906" tIns="43953" rIns="87906" bIns="43953" rtlCol="0" anchor="ctr"/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tform Architecture and Design (e.g. </a:t>
            </a:r>
            <a:r>
              <a:rPr lang="en-US" sz="80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aS</a:t>
            </a: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800" b="0" kern="0" dirty="0" err="1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cker</a:t>
            </a: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Open Shift etc.| </a:t>
            </a:r>
            <a:r>
              <a:rPr lang="en-US" sz="80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Ts</a:t>
            </a: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800" b="0" kern="0" dirty="0" err="1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lio</a:t>
            </a: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800" b="0" kern="0" dirty="0" err="1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c</a:t>
            </a: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| Cloud NPE)</a:t>
            </a:r>
          </a:p>
        </p:txBody>
      </p:sp>
      <p:sp>
        <p:nvSpPr>
          <p:cNvPr id="5" name="Down Arrow 4"/>
          <p:cNvSpPr/>
          <p:nvPr/>
        </p:nvSpPr>
        <p:spPr>
          <a:xfrm>
            <a:off x="8430351" y="1499408"/>
            <a:ext cx="211128" cy="260736"/>
          </a:xfrm>
          <a:prstGeom prst="downArrow">
            <a:avLst/>
          </a:prstGeom>
          <a:solidFill>
            <a:srgbClr val="1F3B9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Down Arrow 5"/>
          <p:cNvSpPr/>
          <p:nvPr/>
        </p:nvSpPr>
        <p:spPr>
          <a:xfrm>
            <a:off x="2660782" y="1499408"/>
            <a:ext cx="211128" cy="260736"/>
          </a:xfrm>
          <a:prstGeom prst="downArrow">
            <a:avLst/>
          </a:prstGeom>
          <a:solidFill>
            <a:srgbClr val="1F3B9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4"/>
          <p:cNvSpPr/>
          <p:nvPr/>
        </p:nvSpPr>
        <p:spPr>
          <a:xfrm>
            <a:off x="2412966" y="1301540"/>
            <a:ext cx="6315844" cy="234776"/>
          </a:xfrm>
          <a:custGeom>
            <a:avLst/>
            <a:gdLst>
              <a:gd name="connsiteX0" fmla="*/ 0 w 3733800"/>
              <a:gd name="connsiteY0" fmla="*/ 0 h 381000"/>
              <a:gd name="connsiteX1" fmla="*/ 3733800 w 3733800"/>
              <a:gd name="connsiteY1" fmla="*/ 0 h 381000"/>
              <a:gd name="connsiteX2" fmla="*/ 3733800 w 3733800"/>
              <a:gd name="connsiteY2" fmla="*/ 381000 h 381000"/>
              <a:gd name="connsiteX3" fmla="*/ 0 w 3733800"/>
              <a:gd name="connsiteY3" fmla="*/ 381000 h 381000"/>
              <a:gd name="connsiteX4" fmla="*/ 0 w 3733800"/>
              <a:gd name="connsiteY4" fmla="*/ 0 h 381000"/>
              <a:gd name="connsiteX0" fmla="*/ 0 w 3733800"/>
              <a:gd name="connsiteY0" fmla="*/ 0 h 381000"/>
              <a:gd name="connsiteX1" fmla="*/ 3733800 w 3733800"/>
              <a:gd name="connsiteY1" fmla="*/ 0 h 381000"/>
              <a:gd name="connsiteX2" fmla="*/ 3733800 w 3733800"/>
              <a:gd name="connsiteY2" fmla="*/ 381000 h 381000"/>
              <a:gd name="connsiteX3" fmla="*/ 239111 w 3733800"/>
              <a:gd name="connsiteY3" fmla="*/ 374952 h 381000"/>
              <a:gd name="connsiteX4" fmla="*/ 0 w 3733800"/>
              <a:gd name="connsiteY4" fmla="*/ 381000 h 381000"/>
              <a:gd name="connsiteX5" fmla="*/ 0 w 3733800"/>
              <a:gd name="connsiteY5" fmla="*/ 0 h 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33800" h="381000">
                <a:moveTo>
                  <a:pt x="0" y="0"/>
                </a:moveTo>
                <a:lnTo>
                  <a:pt x="3733800" y="0"/>
                </a:lnTo>
                <a:lnTo>
                  <a:pt x="3733800" y="381000"/>
                </a:lnTo>
                <a:lnTo>
                  <a:pt x="239111" y="374952"/>
                </a:lnTo>
                <a:lnTo>
                  <a:pt x="0" y="381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lIns="87906" tIns="43953" rIns="87906" bIns="43953" rtlCol="0" anchor="ctr"/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 Profiling  </a:t>
            </a:r>
          </a:p>
        </p:txBody>
      </p:sp>
      <p:sp>
        <p:nvSpPr>
          <p:cNvPr id="8" name="Down Arrow 7"/>
          <p:cNvSpPr/>
          <p:nvPr/>
        </p:nvSpPr>
        <p:spPr>
          <a:xfrm>
            <a:off x="8430351" y="1214006"/>
            <a:ext cx="211128" cy="260736"/>
          </a:xfrm>
          <a:prstGeom prst="downArrow">
            <a:avLst/>
          </a:prstGeom>
          <a:solidFill>
            <a:srgbClr val="1F3B9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Down Arrow 9"/>
          <p:cNvSpPr/>
          <p:nvPr/>
        </p:nvSpPr>
        <p:spPr>
          <a:xfrm rot="16200000">
            <a:off x="1932079" y="6067269"/>
            <a:ext cx="283835" cy="587849"/>
          </a:xfrm>
          <a:prstGeom prst="downArrow">
            <a:avLst/>
          </a:prstGeom>
          <a:solidFill>
            <a:srgbClr val="ADCDEC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384866" y="1867515"/>
            <a:ext cx="2311239" cy="997596"/>
          </a:xfrm>
          <a:prstGeom prst="rect">
            <a:avLst/>
          </a:prstGeom>
          <a:solidFill>
            <a:srgbClr val="219D44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List</a:t>
            </a:r>
            <a:br>
              <a:rPr lang="en-US" sz="10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Ops Ready (20%)</a:t>
            </a:r>
          </a:p>
          <a:p>
            <a:pPr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iteria:</a:t>
            </a:r>
          </a:p>
          <a:p>
            <a:pPr marL="182880" indent="-9144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 Stack: Java</a:t>
            </a:r>
          </a:p>
          <a:p>
            <a:pPr marL="182880" indent="-9144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loyment Method: Package based deploy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765233" y="1867514"/>
            <a:ext cx="1955326" cy="999859"/>
          </a:xfrm>
          <a:prstGeom prst="rect">
            <a:avLst/>
          </a:prstGeom>
          <a:solidFill>
            <a:srgbClr val="F6921E"/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 List</a:t>
            </a:r>
            <a:r>
              <a:rPr lang="en-US" sz="12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12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ed Change (30%)</a:t>
            </a:r>
          </a:p>
          <a:p>
            <a:pPr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iteria:</a:t>
            </a:r>
          </a:p>
          <a:p>
            <a:pPr marL="182880" indent="-9144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 Stack: Java, .NET, Database</a:t>
            </a:r>
          </a:p>
          <a:p>
            <a:pPr marL="182880" indent="-9144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loyment Method: Scripts, Objects, Packages with Custom Integration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779811" y="1867514"/>
            <a:ext cx="1955326" cy="1019543"/>
          </a:xfrm>
          <a:prstGeom prst="rect">
            <a:avLst/>
          </a:prstGeom>
          <a:solidFill>
            <a:srgbClr val="FC2D07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 List</a:t>
            </a:r>
            <a:r>
              <a:rPr lang="en-US" sz="12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12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 Ready (50%)</a:t>
            </a:r>
          </a:p>
          <a:p>
            <a:pPr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iteria:</a:t>
            </a:r>
          </a:p>
          <a:p>
            <a:pPr marL="182880" indent="-9144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 Stack: COTS, Legacy </a:t>
            </a:r>
          </a:p>
          <a:p>
            <a:pPr marL="182880" indent="-9144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loyment Method: scripts, objects, packages with custom integration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8822771" y="1249730"/>
            <a:ext cx="979747" cy="4869688"/>
          </a:xfrm>
          <a:prstGeom prst="rect">
            <a:avLst/>
          </a:prstGeom>
          <a:solidFill>
            <a:srgbClr val="ADCDEC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ilds: </a:t>
            </a:r>
            <a:r>
              <a:rPr lang="en-US" sz="800" b="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inuous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0" kern="0" dirty="0">
              <a:solidFill>
                <a:srgbClr val="1F3B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vironments: </a:t>
            </a:r>
            <a:r>
              <a:rPr lang="en-US" sz="800" b="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 Demand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0" kern="0" dirty="0">
              <a:solidFill>
                <a:srgbClr val="1F3B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ation Testing</a:t>
            </a:r>
            <a:r>
              <a:rPr lang="en-US" sz="90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5</a:t>
            </a:r>
            <a:r>
              <a:rPr lang="en-US" sz="800" b="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 automation coverage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0" kern="0" dirty="0">
              <a:solidFill>
                <a:srgbClr val="1F3B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lease: </a:t>
            </a:r>
            <a:r>
              <a:rPr lang="en-US" sz="90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90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</a:t>
            </a:r>
            <a:r>
              <a:rPr lang="en-US" sz="800" b="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deployments to CIT, ST. 1-click to E2E SIT, UAT, NFT, OAT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0" kern="0" dirty="0">
              <a:solidFill>
                <a:srgbClr val="1F3B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lidation: </a:t>
            </a:r>
            <a:r>
              <a:rPr lang="en-US" sz="900" kern="0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900" kern="0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0-100</a:t>
            </a:r>
            <a:r>
              <a:rPr lang="en-US" sz="800" b="0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 automatic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0" kern="0" dirty="0">
              <a:solidFill>
                <a:srgbClr val="1F3B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gging/Monitoring: </a:t>
            </a: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al </a:t>
            </a:r>
            <a:r>
              <a:rPr lang="en-US" sz="800" b="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me ELK based</a:t>
            </a:r>
          </a:p>
        </p:txBody>
      </p:sp>
      <p:sp>
        <p:nvSpPr>
          <p:cNvPr id="17" name="Rectangle 16"/>
          <p:cNvSpPr/>
          <p:nvPr/>
        </p:nvSpPr>
        <p:spPr>
          <a:xfrm>
            <a:off x="8823222" y="881522"/>
            <a:ext cx="979747" cy="358471"/>
          </a:xfrm>
          <a:prstGeom prst="rect">
            <a:avLst/>
          </a:prstGeom>
          <a:solidFill>
            <a:srgbClr val="1F3B92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RGET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40739" y="1152402"/>
            <a:ext cx="1920588" cy="3862093"/>
          </a:xfrm>
          <a:prstGeom prst="rect">
            <a:avLst/>
          </a:prstGeom>
          <a:noFill/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394234" y="6103709"/>
            <a:ext cx="6334962" cy="5092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91081" y="5396006"/>
            <a:ext cx="1836164" cy="115414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Down Arrow 22"/>
          <p:cNvSpPr/>
          <p:nvPr/>
        </p:nvSpPr>
        <p:spPr>
          <a:xfrm rot="16200000">
            <a:off x="2078341" y="1469440"/>
            <a:ext cx="315289" cy="252887"/>
          </a:xfrm>
          <a:prstGeom prst="downArrow">
            <a:avLst/>
          </a:prstGeom>
          <a:solidFill>
            <a:srgbClr val="ADCDEC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136344" y="2087432"/>
            <a:ext cx="566271" cy="264165"/>
          </a:xfrm>
          <a:prstGeom prst="rect">
            <a:avLst/>
          </a:prstGeom>
          <a:noFill/>
        </p:spPr>
        <p:txBody>
          <a:bodyPr wrap="none" lIns="87906" tIns="43953" rIns="87906" bIns="43953" rtlCol="0">
            <a:spAutoFit/>
          </a:bodyPr>
          <a:lstStyle/>
          <a:p>
            <a:pPr defTabSz="34286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prstClr val="white">
                    <a:alpha val="7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-9 mo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041200" y="2067748"/>
            <a:ext cx="626370" cy="227264"/>
          </a:xfrm>
          <a:prstGeom prst="rect">
            <a:avLst/>
          </a:prstGeom>
          <a:noFill/>
        </p:spPr>
        <p:txBody>
          <a:bodyPr wrap="none" lIns="87906" tIns="43953" rIns="87906" bIns="43953" rtlCol="0">
            <a:spAutoFit/>
          </a:bodyPr>
          <a:lstStyle/>
          <a:p>
            <a:pPr defTabSz="34286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prstClr val="white">
                    <a:alpha val="7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-18 </a:t>
            </a:r>
            <a:r>
              <a:rPr lang="en-US" sz="900" dirty="0">
                <a:solidFill>
                  <a:prstClr val="white">
                    <a:alpha val="7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</a:t>
            </a:r>
          </a:p>
        </p:txBody>
      </p:sp>
      <p:sp>
        <p:nvSpPr>
          <p:cNvPr id="26" name="Down Arrow 25"/>
          <p:cNvSpPr/>
          <p:nvPr/>
        </p:nvSpPr>
        <p:spPr>
          <a:xfrm>
            <a:off x="7659499" y="1851365"/>
            <a:ext cx="195950" cy="178401"/>
          </a:xfrm>
          <a:prstGeom prst="downArrow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Down Arrow 26"/>
          <p:cNvSpPr/>
          <p:nvPr/>
        </p:nvSpPr>
        <p:spPr>
          <a:xfrm>
            <a:off x="3442511" y="1855627"/>
            <a:ext cx="195950" cy="178401"/>
          </a:xfrm>
          <a:prstGeom prst="downArrow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Down Arrow 27"/>
          <p:cNvSpPr/>
          <p:nvPr/>
        </p:nvSpPr>
        <p:spPr>
          <a:xfrm>
            <a:off x="5644921" y="1856787"/>
            <a:ext cx="195950" cy="178401"/>
          </a:xfrm>
          <a:prstGeom prst="downArrow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309091" y="5145512"/>
            <a:ext cx="630983" cy="264165"/>
          </a:xfrm>
          <a:prstGeom prst="rect">
            <a:avLst/>
          </a:prstGeom>
          <a:noFill/>
        </p:spPr>
        <p:txBody>
          <a:bodyPr wrap="none" lIns="87906" tIns="43953" rIns="87906" bIns="43953" rtlCol="0">
            <a:spAutoFit/>
          </a:bodyPr>
          <a:lstStyle/>
          <a:p>
            <a:pPr defTabSz="34286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F370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-12 mo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495056" y="885017"/>
            <a:ext cx="566271" cy="264165"/>
          </a:xfrm>
          <a:prstGeom prst="rect">
            <a:avLst/>
          </a:prstGeom>
          <a:noFill/>
        </p:spPr>
        <p:txBody>
          <a:bodyPr wrap="none" lIns="87906" tIns="43953" rIns="87906" bIns="43953" rtlCol="0">
            <a:spAutoFit/>
          </a:bodyPr>
          <a:lstStyle/>
          <a:p>
            <a:pPr algn="r" defTabSz="34286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F370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-3 mo</a:t>
            </a:r>
          </a:p>
        </p:txBody>
      </p:sp>
      <p:sp>
        <p:nvSpPr>
          <p:cNvPr id="34" name="Rectangle 33"/>
          <p:cNvSpPr/>
          <p:nvPr/>
        </p:nvSpPr>
        <p:spPr>
          <a:xfrm>
            <a:off x="8823222" y="6119418"/>
            <a:ext cx="979747" cy="503414"/>
          </a:xfrm>
          <a:prstGeom prst="rect">
            <a:avLst/>
          </a:prstGeom>
          <a:solidFill>
            <a:srgbClr val="1F3B92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-12 MONTH JOURNEY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7467763" y="6512060"/>
            <a:ext cx="1249010" cy="107684"/>
            <a:chOff x="3632200" y="4781550"/>
            <a:chExt cx="2057731" cy="168842"/>
          </a:xfrm>
          <a:solidFill>
            <a:srgbClr val="1F3B92"/>
          </a:solidFill>
        </p:grpSpPr>
        <p:sp>
          <p:nvSpPr>
            <p:cNvPr id="64" name="Freeform 63"/>
            <p:cNvSpPr/>
            <p:nvPr/>
          </p:nvSpPr>
          <p:spPr>
            <a:xfrm rot="60000">
              <a:off x="5105400" y="4781550"/>
              <a:ext cx="584531" cy="168842"/>
            </a:xfrm>
            <a:custGeom>
              <a:avLst/>
              <a:gdLst>
                <a:gd name="connsiteX0" fmla="*/ 0 w 603504"/>
                <a:gd name="connsiteY0" fmla="*/ 201185 h 201185"/>
                <a:gd name="connsiteX1" fmla="*/ 256032 w 603504"/>
                <a:gd name="connsiteY1" fmla="*/ 17 h 201185"/>
                <a:gd name="connsiteX2" fmla="*/ 603504 w 603504"/>
                <a:gd name="connsiteY2" fmla="*/ 192041 h 201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3504" h="201185">
                  <a:moveTo>
                    <a:pt x="0" y="201185"/>
                  </a:moveTo>
                  <a:cubicBezTo>
                    <a:pt x="77724" y="101363"/>
                    <a:pt x="155448" y="1541"/>
                    <a:pt x="256032" y="17"/>
                  </a:cubicBezTo>
                  <a:cubicBezTo>
                    <a:pt x="356616" y="-1507"/>
                    <a:pt x="480060" y="95267"/>
                    <a:pt x="603504" y="192041"/>
                  </a:cubicBezTo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5" name="Freeform 64"/>
            <p:cNvSpPr/>
            <p:nvPr/>
          </p:nvSpPr>
          <p:spPr>
            <a:xfrm rot="60000">
              <a:off x="4622800" y="4781550"/>
              <a:ext cx="584531" cy="168842"/>
            </a:xfrm>
            <a:custGeom>
              <a:avLst/>
              <a:gdLst>
                <a:gd name="connsiteX0" fmla="*/ 0 w 603504"/>
                <a:gd name="connsiteY0" fmla="*/ 201185 h 201185"/>
                <a:gd name="connsiteX1" fmla="*/ 256032 w 603504"/>
                <a:gd name="connsiteY1" fmla="*/ 17 h 201185"/>
                <a:gd name="connsiteX2" fmla="*/ 603504 w 603504"/>
                <a:gd name="connsiteY2" fmla="*/ 192041 h 201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3504" h="201185">
                  <a:moveTo>
                    <a:pt x="0" y="201185"/>
                  </a:moveTo>
                  <a:cubicBezTo>
                    <a:pt x="77724" y="101363"/>
                    <a:pt x="155448" y="1541"/>
                    <a:pt x="256032" y="17"/>
                  </a:cubicBezTo>
                  <a:cubicBezTo>
                    <a:pt x="356616" y="-1507"/>
                    <a:pt x="480060" y="95267"/>
                    <a:pt x="603504" y="192041"/>
                  </a:cubicBezTo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6" name="Freeform 65"/>
            <p:cNvSpPr/>
            <p:nvPr/>
          </p:nvSpPr>
          <p:spPr>
            <a:xfrm rot="60000">
              <a:off x="4114800" y="4781550"/>
              <a:ext cx="584531" cy="168842"/>
            </a:xfrm>
            <a:custGeom>
              <a:avLst/>
              <a:gdLst>
                <a:gd name="connsiteX0" fmla="*/ 0 w 603504"/>
                <a:gd name="connsiteY0" fmla="*/ 201185 h 201185"/>
                <a:gd name="connsiteX1" fmla="*/ 256032 w 603504"/>
                <a:gd name="connsiteY1" fmla="*/ 17 h 201185"/>
                <a:gd name="connsiteX2" fmla="*/ 603504 w 603504"/>
                <a:gd name="connsiteY2" fmla="*/ 192041 h 201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3504" h="201185">
                  <a:moveTo>
                    <a:pt x="0" y="201185"/>
                  </a:moveTo>
                  <a:cubicBezTo>
                    <a:pt x="77724" y="101363"/>
                    <a:pt x="155448" y="1541"/>
                    <a:pt x="256032" y="17"/>
                  </a:cubicBezTo>
                  <a:cubicBezTo>
                    <a:pt x="356616" y="-1507"/>
                    <a:pt x="480060" y="95267"/>
                    <a:pt x="603504" y="192041"/>
                  </a:cubicBezTo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7" name="Freeform 66"/>
            <p:cNvSpPr/>
            <p:nvPr/>
          </p:nvSpPr>
          <p:spPr>
            <a:xfrm rot="60000">
              <a:off x="3632200" y="4781550"/>
              <a:ext cx="584531" cy="168842"/>
            </a:xfrm>
            <a:custGeom>
              <a:avLst/>
              <a:gdLst>
                <a:gd name="connsiteX0" fmla="*/ 0 w 603504"/>
                <a:gd name="connsiteY0" fmla="*/ 201185 h 201185"/>
                <a:gd name="connsiteX1" fmla="*/ 256032 w 603504"/>
                <a:gd name="connsiteY1" fmla="*/ 17 h 201185"/>
                <a:gd name="connsiteX2" fmla="*/ 603504 w 603504"/>
                <a:gd name="connsiteY2" fmla="*/ 192041 h 201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3504" h="201185">
                  <a:moveTo>
                    <a:pt x="0" y="201185"/>
                  </a:moveTo>
                  <a:cubicBezTo>
                    <a:pt x="77724" y="101363"/>
                    <a:pt x="155448" y="1541"/>
                    <a:pt x="256032" y="17"/>
                  </a:cubicBezTo>
                  <a:cubicBezTo>
                    <a:pt x="356616" y="-1507"/>
                    <a:pt x="480060" y="95267"/>
                    <a:pt x="603504" y="192041"/>
                  </a:cubicBezTo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6" name="Rectangle 35"/>
          <p:cNvSpPr/>
          <p:nvPr/>
        </p:nvSpPr>
        <p:spPr>
          <a:xfrm>
            <a:off x="99515" y="5423073"/>
            <a:ext cx="1835775" cy="286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6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Ops Platform Build Out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221277" y="5769662"/>
            <a:ext cx="1620352" cy="638859"/>
            <a:chOff x="304797" y="4131459"/>
            <a:chExt cx="1667935" cy="549617"/>
          </a:xfrm>
        </p:grpSpPr>
        <p:sp>
          <p:nvSpPr>
            <p:cNvPr id="61" name="Freeform 60"/>
            <p:cNvSpPr/>
            <p:nvPr/>
          </p:nvSpPr>
          <p:spPr>
            <a:xfrm>
              <a:off x="304797" y="4131459"/>
              <a:ext cx="1667935" cy="161377"/>
            </a:xfrm>
            <a:custGeom>
              <a:avLst/>
              <a:gdLst>
                <a:gd name="connsiteX0" fmla="*/ 0 w 1521438"/>
                <a:gd name="connsiteY0" fmla="*/ 26897 h 161377"/>
                <a:gd name="connsiteX1" fmla="*/ 26897 w 1521438"/>
                <a:gd name="connsiteY1" fmla="*/ 0 h 161377"/>
                <a:gd name="connsiteX2" fmla="*/ 1494541 w 1521438"/>
                <a:gd name="connsiteY2" fmla="*/ 0 h 161377"/>
                <a:gd name="connsiteX3" fmla="*/ 1521438 w 1521438"/>
                <a:gd name="connsiteY3" fmla="*/ 26897 h 161377"/>
                <a:gd name="connsiteX4" fmla="*/ 1521438 w 1521438"/>
                <a:gd name="connsiteY4" fmla="*/ 134480 h 161377"/>
                <a:gd name="connsiteX5" fmla="*/ 1494541 w 1521438"/>
                <a:gd name="connsiteY5" fmla="*/ 161377 h 161377"/>
                <a:gd name="connsiteX6" fmla="*/ 26897 w 1521438"/>
                <a:gd name="connsiteY6" fmla="*/ 161377 h 161377"/>
                <a:gd name="connsiteX7" fmla="*/ 0 w 1521438"/>
                <a:gd name="connsiteY7" fmla="*/ 134480 h 161377"/>
                <a:gd name="connsiteX8" fmla="*/ 0 w 1521438"/>
                <a:gd name="connsiteY8" fmla="*/ 26897 h 1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1438" h="161377">
                  <a:moveTo>
                    <a:pt x="0" y="26897"/>
                  </a:moveTo>
                  <a:cubicBezTo>
                    <a:pt x="0" y="12042"/>
                    <a:pt x="12042" y="0"/>
                    <a:pt x="26897" y="0"/>
                  </a:cubicBezTo>
                  <a:lnTo>
                    <a:pt x="1494541" y="0"/>
                  </a:lnTo>
                  <a:cubicBezTo>
                    <a:pt x="1509396" y="0"/>
                    <a:pt x="1521438" y="12042"/>
                    <a:pt x="1521438" y="26897"/>
                  </a:cubicBezTo>
                  <a:lnTo>
                    <a:pt x="1521438" y="134480"/>
                  </a:lnTo>
                  <a:cubicBezTo>
                    <a:pt x="1521438" y="149335"/>
                    <a:pt x="1509396" y="161377"/>
                    <a:pt x="1494541" y="161377"/>
                  </a:cubicBezTo>
                  <a:lnTo>
                    <a:pt x="26897" y="161377"/>
                  </a:lnTo>
                  <a:cubicBezTo>
                    <a:pt x="12042" y="161377"/>
                    <a:pt x="0" y="149335"/>
                    <a:pt x="0" y="134480"/>
                  </a:cubicBezTo>
                  <a:lnTo>
                    <a:pt x="0" y="26897"/>
                  </a:lnTo>
                  <a:close/>
                </a:path>
              </a:pathLst>
            </a:custGeom>
            <a:solidFill>
              <a:srgbClr val="1F3B92"/>
            </a:soli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plastic"/>
          </p:spPr>
          <p:txBody>
            <a:bodyPr spcFirstLastPara="0" vert="horz" wrap="square" lIns="38358" tIns="0" rIns="38358" bIns="18288" numCol="1" spcCol="1270" anchor="ctr" anchorCtr="0">
              <a:noAutofit/>
            </a:bodyPr>
            <a:lstStyle/>
            <a:p>
              <a:pPr algn="ctr" defTabSz="3556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800" b="0" kern="0" dirty="0" smtClean="0">
                  <a:ln/>
                  <a:solidFill>
                    <a:prstClr val="white"/>
                  </a:solidFill>
                  <a:latin typeface="Calibri"/>
                  <a:cs typeface="Arial"/>
                </a:rPr>
                <a:t>Base </a:t>
              </a:r>
              <a:r>
                <a:rPr lang="en-US" sz="800" b="0" kern="0" dirty="0" err="1" smtClean="0">
                  <a:ln/>
                  <a:solidFill>
                    <a:prstClr val="white"/>
                  </a:solidFill>
                  <a:latin typeface="Calibri"/>
                  <a:cs typeface="Arial"/>
                </a:rPr>
                <a:t>Impl</a:t>
              </a:r>
              <a:endParaRPr lang="en-US" sz="800" b="0" kern="0" dirty="0" smtClean="0">
                <a:ln/>
                <a:solidFill>
                  <a:prstClr val="white"/>
                </a:solidFill>
                <a:latin typeface="Calibri"/>
                <a:cs typeface="Arial"/>
              </a:endParaRPr>
            </a:p>
          </p:txBody>
        </p:sp>
        <p:sp>
          <p:nvSpPr>
            <p:cNvPr id="62" name="Freeform 61"/>
            <p:cNvSpPr/>
            <p:nvPr/>
          </p:nvSpPr>
          <p:spPr>
            <a:xfrm>
              <a:off x="304797" y="4325579"/>
              <a:ext cx="1667935" cy="161377"/>
            </a:xfrm>
            <a:custGeom>
              <a:avLst/>
              <a:gdLst>
                <a:gd name="connsiteX0" fmla="*/ 0 w 1521438"/>
                <a:gd name="connsiteY0" fmla="*/ 26897 h 161377"/>
                <a:gd name="connsiteX1" fmla="*/ 26897 w 1521438"/>
                <a:gd name="connsiteY1" fmla="*/ 0 h 161377"/>
                <a:gd name="connsiteX2" fmla="*/ 1494541 w 1521438"/>
                <a:gd name="connsiteY2" fmla="*/ 0 h 161377"/>
                <a:gd name="connsiteX3" fmla="*/ 1521438 w 1521438"/>
                <a:gd name="connsiteY3" fmla="*/ 26897 h 161377"/>
                <a:gd name="connsiteX4" fmla="*/ 1521438 w 1521438"/>
                <a:gd name="connsiteY4" fmla="*/ 134480 h 161377"/>
                <a:gd name="connsiteX5" fmla="*/ 1494541 w 1521438"/>
                <a:gd name="connsiteY5" fmla="*/ 161377 h 161377"/>
                <a:gd name="connsiteX6" fmla="*/ 26897 w 1521438"/>
                <a:gd name="connsiteY6" fmla="*/ 161377 h 161377"/>
                <a:gd name="connsiteX7" fmla="*/ 0 w 1521438"/>
                <a:gd name="connsiteY7" fmla="*/ 134480 h 161377"/>
                <a:gd name="connsiteX8" fmla="*/ 0 w 1521438"/>
                <a:gd name="connsiteY8" fmla="*/ 26897 h 1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1438" h="161377">
                  <a:moveTo>
                    <a:pt x="0" y="26897"/>
                  </a:moveTo>
                  <a:cubicBezTo>
                    <a:pt x="0" y="12042"/>
                    <a:pt x="12042" y="0"/>
                    <a:pt x="26897" y="0"/>
                  </a:cubicBezTo>
                  <a:lnTo>
                    <a:pt x="1494541" y="0"/>
                  </a:lnTo>
                  <a:cubicBezTo>
                    <a:pt x="1509396" y="0"/>
                    <a:pt x="1521438" y="12042"/>
                    <a:pt x="1521438" y="26897"/>
                  </a:cubicBezTo>
                  <a:lnTo>
                    <a:pt x="1521438" y="134480"/>
                  </a:lnTo>
                  <a:cubicBezTo>
                    <a:pt x="1521438" y="149335"/>
                    <a:pt x="1509396" y="161377"/>
                    <a:pt x="1494541" y="161377"/>
                  </a:cubicBezTo>
                  <a:lnTo>
                    <a:pt x="26897" y="161377"/>
                  </a:lnTo>
                  <a:cubicBezTo>
                    <a:pt x="12042" y="161377"/>
                    <a:pt x="0" y="149335"/>
                    <a:pt x="0" y="134480"/>
                  </a:cubicBezTo>
                  <a:lnTo>
                    <a:pt x="0" y="26897"/>
                  </a:lnTo>
                  <a:close/>
                </a:path>
              </a:pathLst>
            </a:custGeom>
            <a:solidFill>
              <a:srgbClr val="1F3B92"/>
            </a:soli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plastic"/>
          </p:spPr>
          <p:txBody>
            <a:bodyPr spcFirstLastPara="0" vert="horz" wrap="square" lIns="38358" tIns="0" rIns="38358" bIns="18288" numCol="1" spcCol="1270" anchor="ctr" anchorCtr="0">
              <a:noAutofit/>
            </a:bodyPr>
            <a:lstStyle/>
            <a:p>
              <a:pPr algn="ctr" defTabSz="3556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800" b="0" kern="0" dirty="0" smtClean="0">
                  <a:ln/>
                  <a:solidFill>
                    <a:prstClr val="white"/>
                  </a:solidFill>
                  <a:latin typeface="Calibri"/>
                  <a:cs typeface="Arial"/>
                </a:rPr>
                <a:t>Customization</a:t>
              </a:r>
            </a:p>
          </p:txBody>
        </p:sp>
        <p:sp>
          <p:nvSpPr>
            <p:cNvPr id="63" name="Freeform 62"/>
            <p:cNvSpPr/>
            <p:nvPr/>
          </p:nvSpPr>
          <p:spPr>
            <a:xfrm>
              <a:off x="304797" y="4519699"/>
              <a:ext cx="1667935" cy="161377"/>
            </a:xfrm>
            <a:custGeom>
              <a:avLst/>
              <a:gdLst>
                <a:gd name="connsiteX0" fmla="*/ 0 w 1521438"/>
                <a:gd name="connsiteY0" fmla="*/ 26897 h 161377"/>
                <a:gd name="connsiteX1" fmla="*/ 26897 w 1521438"/>
                <a:gd name="connsiteY1" fmla="*/ 0 h 161377"/>
                <a:gd name="connsiteX2" fmla="*/ 1494541 w 1521438"/>
                <a:gd name="connsiteY2" fmla="*/ 0 h 161377"/>
                <a:gd name="connsiteX3" fmla="*/ 1521438 w 1521438"/>
                <a:gd name="connsiteY3" fmla="*/ 26897 h 161377"/>
                <a:gd name="connsiteX4" fmla="*/ 1521438 w 1521438"/>
                <a:gd name="connsiteY4" fmla="*/ 134480 h 161377"/>
                <a:gd name="connsiteX5" fmla="*/ 1494541 w 1521438"/>
                <a:gd name="connsiteY5" fmla="*/ 161377 h 161377"/>
                <a:gd name="connsiteX6" fmla="*/ 26897 w 1521438"/>
                <a:gd name="connsiteY6" fmla="*/ 161377 h 161377"/>
                <a:gd name="connsiteX7" fmla="*/ 0 w 1521438"/>
                <a:gd name="connsiteY7" fmla="*/ 134480 h 161377"/>
                <a:gd name="connsiteX8" fmla="*/ 0 w 1521438"/>
                <a:gd name="connsiteY8" fmla="*/ 26897 h 1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1438" h="161377">
                  <a:moveTo>
                    <a:pt x="0" y="26897"/>
                  </a:moveTo>
                  <a:cubicBezTo>
                    <a:pt x="0" y="12042"/>
                    <a:pt x="12042" y="0"/>
                    <a:pt x="26897" y="0"/>
                  </a:cubicBezTo>
                  <a:lnTo>
                    <a:pt x="1494541" y="0"/>
                  </a:lnTo>
                  <a:cubicBezTo>
                    <a:pt x="1509396" y="0"/>
                    <a:pt x="1521438" y="12042"/>
                    <a:pt x="1521438" y="26897"/>
                  </a:cubicBezTo>
                  <a:lnTo>
                    <a:pt x="1521438" y="134480"/>
                  </a:lnTo>
                  <a:cubicBezTo>
                    <a:pt x="1521438" y="149335"/>
                    <a:pt x="1509396" y="161377"/>
                    <a:pt x="1494541" y="161377"/>
                  </a:cubicBezTo>
                  <a:lnTo>
                    <a:pt x="26897" y="161377"/>
                  </a:lnTo>
                  <a:cubicBezTo>
                    <a:pt x="12042" y="161377"/>
                    <a:pt x="0" y="149335"/>
                    <a:pt x="0" y="134480"/>
                  </a:cubicBezTo>
                  <a:lnTo>
                    <a:pt x="0" y="26897"/>
                  </a:lnTo>
                  <a:close/>
                </a:path>
              </a:pathLst>
            </a:custGeom>
            <a:solidFill>
              <a:srgbClr val="1F3B92"/>
            </a:soli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plastic"/>
          </p:spPr>
          <p:txBody>
            <a:bodyPr spcFirstLastPara="0" vert="horz" wrap="square" lIns="38358" tIns="0" rIns="38358" bIns="18288" numCol="1" spcCol="1270" anchor="ctr" anchorCtr="0">
              <a:noAutofit/>
            </a:bodyPr>
            <a:lstStyle/>
            <a:p>
              <a:pPr algn="ctr" defTabSz="3556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800" b="0" kern="0" dirty="0" smtClean="0">
                  <a:ln/>
                  <a:solidFill>
                    <a:prstClr val="white"/>
                  </a:solidFill>
                  <a:latin typeface="Calibri"/>
                  <a:cs typeface="Arial"/>
                </a:rPr>
                <a:t>Enterprise Integration</a:t>
              </a:r>
            </a:p>
          </p:txBody>
        </p:sp>
      </p:grpSp>
      <p:sp>
        <p:nvSpPr>
          <p:cNvPr id="38" name="Rectangle 37"/>
          <p:cNvSpPr/>
          <p:nvPr/>
        </p:nvSpPr>
        <p:spPr>
          <a:xfrm>
            <a:off x="2487955" y="6309170"/>
            <a:ext cx="5732104" cy="269319"/>
          </a:xfrm>
          <a:prstGeom prst="rect">
            <a:avLst/>
          </a:prstGeom>
          <a:noFill/>
          <a:ln w="12700" cap="flat" cmpd="sng" algn="ctr">
            <a:noFill/>
            <a:prstDash val="sysDash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3428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i="1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iderations</a:t>
            </a:r>
            <a:r>
              <a:rPr lang="en-US" sz="900" b="0" i="1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LOB Specific Customization  |  Zero disruption  |  4 Wave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262499" y="1267203"/>
            <a:ext cx="1732743" cy="11090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Ops Enablement Framework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9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 Stack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9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Ops Readiness Evaluation 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9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ch Evaluation</a:t>
            </a:r>
          </a:p>
        </p:txBody>
      </p:sp>
      <p:sp>
        <p:nvSpPr>
          <p:cNvPr id="40" name="Rectangle 39"/>
          <p:cNvSpPr/>
          <p:nvPr/>
        </p:nvSpPr>
        <p:spPr>
          <a:xfrm>
            <a:off x="262499" y="2566267"/>
            <a:ext cx="1863872" cy="11090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rclays Inputs and Dimensions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9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$$ - ESI Investment level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9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## - Strategic importance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9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% - Future Growth potential</a:t>
            </a:r>
          </a:p>
        </p:txBody>
      </p:sp>
      <p:sp>
        <p:nvSpPr>
          <p:cNvPr id="46" name="Rectangle 45"/>
          <p:cNvSpPr/>
          <p:nvPr/>
        </p:nvSpPr>
        <p:spPr>
          <a:xfrm>
            <a:off x="2477476" y="6101446"/>
            <a:ext cx="1949222" cy="3219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 On-boarding</a:t>
            </a:r>
          </a:p>
        </p:txBody>
      </p:sp>
      <p:grpSp>
        <p:nvGrpSpPr>
          <p:cNvPr id="47" name="Group 46"/>
          <p:cNvGrpSpPr/>
          <p:nvPr/>
        </p:nvGrpSpPr>
        <p:grpSpPr>
          <a:xfrm>
            <a:off x="8392503" y="1955869"/>
            <a:ext cx="240250" cy="62830"/>
            <a:chOff x="7653193" y="1919133"/>
            <a:chExt cx="271607" cy="67600"/>
          </a:xfrm>
        </p:grpSpPr>
        <p:sp>
          <p:nvSpPr>
            <p:cNvPr id="58" name="Oval 57"/>
            <p:cNvSpPr/>
            <p:nvPr/>
          </p:nvSpPr>
          <p:spPr>
            <a:xfrm>
              <a:off x="7653193" y="1919133"/>
              <a:ext cx="67248" cy="67600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FC2D07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9" name="Oval 58"/>
            <p:cNvSpPr/>
            <p:nvPr/>
          </p:nvSpPr>
          <p:spPr>
            <a:xfrm>
              <a:off x="7754791" y="1919133"/>
              <a:ext cx="67248" cy="67600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FC2D07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7857552" y="1919133"/>
              <a:ext cx="67248" cy="67600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FC2D07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1" name="Rectangle 50"/>
          <p:cNvSpPr/>
          <p:nvPr/>
        </p:nvSpPr>
        <p:spPr>
          <a:xfrm>
            <a:off x="7620569" y="6108562"/>
            <a:ext cx="900794" cy="35775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i="1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 </a:t>
            </a:r>
            <a:r>
              <a:rPr lang="en-US" sz="1400" i="1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aves</a:t>
            </a:r>
            <a:endParaRPr lang="en-US" sz="1400" dirty="0">
              <a:solidFill>
                <a:srgbClr val="3C3C3C"/>
              </a:solidFill>
              <a:latin typeface="Calibri"/>
            </a:endParaRPr>
          </a:p>
        </p:txBody>
      </p:sp>
      <p:sp>
        <p:nvSpPr>
          <p:cNvPr id="52" name="Down Arrow 51"/>
          <p:cNvSpPr/>
          <p:nvPr/>
        </p:nvSpPr>
        <p:spPr>
          <a:xfrm>
            <a:off x="2660782" y="1214006"/>
            <a:ext cx="211128" cy="260736"/>
          </a:xfrm>
          <a:prstGeom prst="downArrow">
            <a:avLst/>
          </a:prstGeom>
          <a:solidFill>
            <a:srgbClr val="1F3B9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" name="Rectangle 4"/>
          <p:cNvSpPr/>
          <p:nvPr/>
        </p:nvSpPr>
        <p:spPr>
          <a:xfrm>
            <a:off x="2356769" y="834158"/>
            <a:ext cx="6372041" cy="426446"/>
          </a:xfrm>
          <a:custGeom>
            <a:avLst/>
            <a:gdLst>
              <a:gd name="connsiteX0" fmla="*/ 0 w 3733800"/>
              <a:gd name="connsiteY0" fmla="*/ 0 h 381000"/>
              <a:gd name="connsiteX1" fmla="*/ 3733800 w 3733800"/>
              <a:gd name="connsiteY1" fmla="*/ 0 h 381000"/>
              <a:gd name="connsiteX2" fmla="*/ 3733800 w 3733800"/>
              <a:gd name="connsiteY2" fmla="*/ 381000 h 381000"/>
              <a:gd name="connsiteX3" fmla="*/ 0 w 3733800"/>
              <a:gd name="connsiteY3" fmla="*/ 381000 h 381000"/>
              <a:gd name="connsiteX4" fmla="*/ 0 w 3733800"/>
              <a:gd name="connsiteY4" fmla="*/ 0 h 381000"/>
              <a:gd name="connsiteX0" fmla="*/ 0 w 3733800"/>
              <a:gd name="connsiteY0" fmla="*/ 0 h 381000"/>
              <a:gd name="connsiteX1" fmla="*/ 3733800 w 3733800"/>
              <a:gd name="connsiteY1" fmla="*/ 0 h 381000"/>
              <a:gd name="connsiteX2" fmla="*/ 3733800 w 3733800"/>
              <a:gd name="connsiteY2" fmla="*/ 381000 h 381000"/>
              <a:gd name="connsiteX3" fmla="*/ 239111 w 3733800"/>
              <a:gd name="connsiteY3" fmla="*/ 374952 h 381000"/>
              <a:gd name="connsiteX4" fmla="*/ 0 w 3733800"/>
              <a:gd name="connsiteY4" fmla="*/ 381000 h 381000"/>
              <a:gd name="connsiteX5" fmla="*/ 0 w 3733800"/>
              <a:gd name="connsiteY5" fmla="*/ 0 h 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33800" h="381000">
                <a:moveTo>
                  <a:pt x="0" y="0"/>
                </a:moveTo>
                <a:lnTo>
                  <a:pt x="3733800" y="0"/>
                </a:lnTo>
                <a:lnTo>
                  <a:pt x="3733800" y="381000"/>
                </a:lnTo>
                <a:lnTo>
                  <a:pt x="239111" y="374952"/>
                </a:lnTo>
                <a:lnTo>
                  <a:pt x="0" y="381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lIns="87906" tIns="43953" rIns="87906" bIns="43953" rtlCol="0" anchor="ctr"/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rclays Application Ecosystem</a:t>
            </a:r>
          </a:p>
          <a:p>
            <a:pPr algn="ctr" defTabSz="342866" fontAlgn="auto">
              <a:spcBef>
                <a:spcPts val="0"/>
              </a:spcBef>
              <a:spcAft>
                <a:spcPts val="0"/>
              </a:spcAft>
              <a:tabLst>
                <a:tab pos="5991638" algn="r"/>
              </a:tabLst>
              <a:defRPr/>
            </a:pPr>
            <a:r>
              <a:rPr lang="en-US" sz="900" b="0" i="1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yments | Corporate | … </a:t>
            </a:r>
            <a:r>
              <a:rPr lang="en-US" sz="800" b="0" i="1" kern="0" dirty="0" smtClean="0">
                <a:solidFill>
                  <a:srgbClr val="F370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va | .NET |  Siebel | … 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6178170" y="2087432"/>
            <a:ext cx="568662" cy="227264"/>
          </a:xfrm>
          <a:prstGeom prst="rect">
            <a:avLst/>
          </a:prstGeom>
          <a:noFill/>
        </p:spPr>
        <p:txBody>
          <a:bodyPr wrap="none" lIns="87906" tIns="43953" rIns="87906" bIns="43953" rtlCol="0">
            <a:spAutoFit/>
          </a:bodyPr>
          <a:lstStyle/>
          <a:p>
            <a:pPr defTabSz="34286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prstClr val="white">
                    <a:alpha val="7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-12 </a:t>
            </a:r>
            <a:r>
              <a:rPr lang="en-US" sz="900" dirty="0">
                <a:solidFill>
                  <a:prstClr val="white">
                    <a:alpha val="7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</a:t>
            </a:r>
          </a:p>
        </p:txBody>
      </p:sp>
      <p:sp>
        <p:nvSpPr>
          <p:cNvPr id="55" name="Oval 54"/>
          <p:cNvSpPr/>
          <p:nvPr/>
        </p:nvSpPr>
        <p:spPr>
          <a:xfrm>
            <a:off x="6462442" y="1955869"/>
            <a:ext cx="59485" cy="6283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/>
        </p:spPr>
        <p:txBody>
          <a:bodyPr rtlCol="0" anchor="ctr"/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srgbClr val="FC2D0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" name="Oval 55"/>
          <p:cNvSpPr/>
          <p:nvPr/>
        </p:nvSpPr>
        <p:spPr>
          <a:xfrm>
            <a:off x="6553339" y="1955869"/>
            <a:ext cx="59485" cy="6283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/>
        </p:spPr>
        <p:txBody>
          <a:bodyPr rtlCol="0" anchor="ctr"/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srgbClr val="FC2D0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Oval 56"/>
          <p:cNvSpPr/>
          <p:nvPr/>
        </p:nvSpPr>
        <p:spPr>
          <a:xfrm>
            <a:off x="4533410" y="1955869"/>
            <a:ext cx="59485" cy="6283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/>
        </p:spPr>
        <p:txBody>
          <a:bodyPr rtlCol="0" anchor="ctr"/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srgbClr val="FC2D0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0" name="Down Arrow 69"/>
          <p:cNvSpPr/>
          <p:nvPr/>
        </p:nvSpPr>
        <p:spPr>
          <a:xfrm>
            <a:off x="5662178" y="5991191"/>
            <a:ext cx="240970" cy="280394"/>
          </a:xfrm>
          <a:prstGeom prst="downArrow">
            <a:avLst/>
          </a:prstGeom>
          <a:solidFill>
            <a:srgbClr val="1F3B9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1" name="Down Arrow 70"/>
          <p:cNvSpPr/>
          <p:nvPr/>
        </p:nvSpPr>
        <p:spPr>
          <a:xfrm>
            <a:off x="5580595" y="2841941"/>
            <a:ext cx="397333" cy="208362"/>
          </a:xfrm>
          <a:prstGeom prst="downArrow">
            <a:avLst/>
          </a:prstGeom>
          <a:solidFill>
            <a:srgbClr val="F58025"/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0" kern="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68" name="Diagram 67"/>
          <p:cNvGraphicFramePr/>
          <p:nvPr>
            <p:extLst/>
          </p:nvPr>
        </p:nvGraphicFramePr>
        <p:xfrm>
          <a:off x="4590276" y="3067252"/>
          <a:ext cx="2318823" cy="28925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107549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 txBox="1"/>
          <p:nvPr/>
        </p:nvSpPr>
        <p:spPr>
          <a:xfrm>
            <a:off x="602632" y="457201"/>
            <a:ext cx="307449" cy="1338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GB">
                <a:solidFill>
                  <a:srgbClr val="809CAE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</a:p>
        </p:txBody>
      </p:sp>
      <p:sp>
        <p:nvSpPr>
          <p:cNvPr id="36" name="Shape 36"/>
          <p:cNvSpPr txBox="1"/>
          <p:nvPr/>
        </p:nvSpPr>
        <p:spPr>
          <a:xfrm>
            <a:off x="927100" y="2209800"/>
            <a:ext cx="7581900" cy="2159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GB" sz="3000" b="1" dirty="0" smtClean="0">
                <a:solidFill>
                  <a:srgbClr val="000000"/>
                </a:solidFill>
                <a:latin typeface="Helvetica"/>
                <a:ea typeface="Open Sans"/>
                <a:cs typeface="Helvetica"/>
                <a:sym typeface="Open Sans"/>
              </a:rPr>
              <a:t>As </a:t>
            </a:r>
            <a:r>
              <a:rPr lang="en-GB" sz="3000" b="1" dirty="0">
                <a:solidFill>
                  <a:srgbClr val="000000"/>
                </a:solidFill>
                <a:latin typeface="Helvetica"/>
                <a:ea typeface="Open Sans"/>
                <a:cs typeface="Helvetica"/>
                <a:sym typeface="Open Sans"/>
              </a:rPr>
              <a:t>a </a:t>
            </a:r>
            <a:r>
              <a:rPr lang="en-GB" sz="3000" dirty="0" smtClean="0">
                <a:solidFill>
                  <a:srgbClr val="000000"/>
                </a:solidFill>
                <a:latin typeface="Helvetica"/>
                <a:ea typeface="Open Sans"/>
                <a:cs typeface="Helvetica"/>
                <a:sym typeface="Open Sans"/>
              </a:rPr>
              <a:t>CIO</a:t>
            </a:r>
            <a:endParaRPr lang="en-GB" sz="3000" dirty="0">
              <a:solidFill>
                <a:srgbClr val="000000"/>
              </a:solidFill>
              <a:latin typeface="Helvetica"/>
              <a:ea typeface="Open Sans"/>
              <a:cs typeface="Helvetica"/>
              <a:sym typeface="Open Sans"/>
            </a:endParaRPr>
          </a:p>
          <a:p>
            <a:pPr>
              <a:spcBef>
                <a:spcPts val="0"/>
              </a:spcBef>
            </a:pPr>
            <a:r>
              <a:rPr lang="en-GB" sz="3000" b="1" dirty="0">
                <a:solidFill>
                  <a:srgbClr val="000000"/>
                </a:solidFill>
                <a:latin typeface="Helvetica"/>
                <a:ea typeface="Open Sans"/>
                <a:cs typeface="Helvetica"/>
                <a:sym typeface="Open Sans"/>
              </a:rPr>
              <a:t>I want</a:t>
            </a:r>
            <a:r>
              <a:rPr lang="en-GB" sz="3000" i="1" dirty="0">
                <a:solidFill>
                  <a:srgbClr val="000000"/>
                </a:solidFill>
                <a:latin typeface="Helvetica"/>
                <a:ea typeface="Open Sans"/>
                <a:cs typeface="Helvetica"/>
                <a:sym typeface="Open Sans"/>
              </a:rPr>
              <a:t> </a:t>
            </a:r>
            <a:r>
              <a:rPr lang="en-GB" sz="3000" b="1" dirty="0">
                <a:solidFill>
                  <a:srgbClr val="000000"/>
                </a:solidFill>
                <a:latin typeface="Helvetica"/>
                <a:ea typeface="Open Sans"/>
                <a:cs typeface="Helvetica"/>
                <a:sym typeface="Open Sans"/>
              </a:rPr>
              <a:t>to</a:t>
            </a:r>
            <a:r>
              <a:rPr lang="en-GB" sz="3000" dirty="0">
                <a:solidFill>
                  <a:srgbClr val="000000"/>
                </a:solidFill>
                <a:latin typeface="Helvetica"/>
                <a:ea typeface="Open Sans"/>
                <a:cs typeface="Helvetica"/>
                <a:sym typeface="Open Sans"/>
              </a:rPr>
              <a:t> </a:t>
            </a:r>
            <a:r>
              <a:rPr lang="en-GB" sz="3000" dirty="0" smtClean="0">
                <a:solidFill>
                  <a:srgbClr val="000000"/>
                </a:solidFill>
                <a:latin typeface="Helvetica"/>
                <a:ea typeface="Open Sans"/>
                <a:cs typeface="Helvetica"/>
                <a:sym typeface="Open Sans"/>
              </a:rPr>
              <a:t>better understand DevOps Tooling and Automation s</a:t>
            </a:r>
            <a:r>
              <a:rPr lang="en-GB" sz="3000" b="1" dirty="0" smtClean="0">
                <a:solidFill>
                  <a:srgbClr val="000000"/>
                </a:solidFill>
                <a:latin typeface="Helvetica"/>
                <a:ea typeface="Open Sans"/>
                <a:cs typeface="Helvetica"/>
                <a:sym typeface="Open Sans"/>
              </a:rPr>
              <a:t>o </a:t>
            </a:r>
            <a:r>
              <a:rPr lang="en-GB" sz="3000" b="1" dirty="0">
                <a:solidFill>
                  <a:srgbClr val="000000"/>
                </a:solidFill>
                <a:latin typeface="Helvetica"/>
                <a:ea typeface="Open Sans"/>
                <a:cs typeface="Helvetica"/>
                <a:sym typeface="Open Sans"/>
              </a:rPr>
              <a:t>that</a:t>
            </a:r>
            <a:r>
              <a:rPr lang="en-GB" sz="3000" dirty="0">
                <a:solidFill>
                  <a:srgbClr val="000000"/>
                </a:solidFill>
                <a:latin typeface="Helvetica"/>
                <a:ea typeface="Open Sans"/>
                <a:cs typeface="Helvetica"/>
                <a:sym typeface="Open Sans"/>
              </a:rPr>
              <a:t> I can </a:t>
            </a:r>
            <a:r>
              <a:rPr lang="en-GB" sz="3000" dirty="0" smtClean="0">
                <a:solidFill>
                  <a:srgbClr val="000000"/>
                </a:solidFill>
                <a:latin typeface="Helvetica"/>
                <a:ea typeface="Open Sans"/>
                <a:cs typeface="Helvetica"/>
                <a:sym typeface="Open Sans"/>
              </a:rPr>
              <a:t>better lead PCB through Optimisation</a:t>
            </a:r>
            <a:endParaRPr lang="en-GB" sz="3000" dirty="0">
              <a:solidFill>
                <a:srgbClr val="000000"/>
              </a:solidFill>
              <a:latin typeface="Helvetica"/>
              <a:ea typeface="Open Sans"/>
              <a:cs typeface="Helvetica"/>
              <a:sym typeface="Open Sans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2445455" y="256822"/>
            <a:ext cx="2304428" cy="2197100"/>
            <a:chOff x="2755900" y="609600"/>
            <a:chExt cx="2304428" cy="2197100"/>
          </a:xfrm>
        </p:grpSpPr>
        <p:sp>
          <p:nvSpPr>
            <p:cNvPr id="4" name="TextBox 3"/>
            <p:cNvSpPr txBox="1"/>
            <p:nvPr/>
          </p:nvSpPr>
          <p:spPr>
            <a:xfrm>
              <a:off x="4470400" y="609600"/>
              <a:ext cx="589928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2000" i="1" dirty="0" smtClean="0">
                  <a:solidFill>
                    <a:srgbClr val="000000"/>
                  </a:solidFill>
                  <a:latin typeface="Expert Sans Regular"/>
                </a:rPr>
                <a:t>Who</a:t>
              </a:r>
            </a:p>
          </p:txBody>
        </p:sp>
        <p:cxnSp>
          <p:nvCxnSpPr>
            <p:cNvPr id="9" name="Straight Arrow Connector 8"/>
            <p:cNvCxnSpPr>
              <a:stCxn id="4" idx="2"/>
            </p:cNvCxnSpPr>
            <p:nvPr/>
          </p:nvCxnSpPr>
          <p:spPr bwMode="auto">
            <a:xfrm flipH="1">
              <a:off x="2755900" y="917377"/>
              <a:ext cx="2009464" cy="1889323"/>
            </a:xfrm>
            <a:prstGeom prst="straightConnector1">
              <a:avLst/>
            </a:prstGeom>
            <a:noFill/>
            <a:ln w="38100" cap="flat" cmpd="sng" algn="ctr">
              <a:solidFill>
                <a:srgbClr val="00AEEF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grpSp>
        <p:nvGrpSpPr>
          <p:cNvPr id="22" name="Group 21"/>
          <p:cNvGrpSpPr/>
          <p:nvPr/>
        </p:nvGrpSpPr>
        <p:grpSpPr>
          <a:xfrm>
            <a:off x="5298723" y="780344"/>
            <a:ext cx="1448586" cy="2133600"/>
            <a:chOff x="7620001" y="1282700"/>
            <a:chExt cx="1448586" cy="2133600"/>
          </a:xfrm>
        </p:grpSpPr>
        <p:sp>
          <p:nvSpPr>
            <p:cNvPr id="5" name="TextBox 4"/>
            <p:cNvSpPr txBox="1"/>
            <p:nvPr/>
          </p:nvSpPr>
          <p:spPr>
            <a:xfrm>
              <a:off x="8407400" y="1282700"/>
              <a:ext cx="661187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2000" i="1" dirty="0" smtClean="0">
                  <a:solidFill>
                    <a:srgbClr val="000000"/>
                  </a:solidFill>
                  <a:latin typeface="Expert Sans Regular"/>
                </a:rPr>
                <a:t>What</a:t>
              </a:r>
            </a:p>
          </p:txBody>
        </p:sp>
        <p:cxnSp>
          <p:nvCxnSpPr>
            <p:cNvPr id="12" name="Straight Arrow Connector 11"/>
            <p:cNvCxnSpPr>
              <a:stCxn id="5" idx="2"/>
            </p:cNvCxnSpPr>
            <p:nvPr/>
          </p:nvCxnSpPr>
          <p:spPr bwMode="auto">
            <a:xfrm flipH="1">
              <a:off x="7620001" y="1590477"/>
              <a:ext cx="1117993" cy="1825823"/>
            </a:xfrm>
            <a:prstGeom prst="straightConnector1">
              <a:avLst/>
            </a:prstGeom>
            <a:noFill/>
            <a:ln w="38100" cap="flat" cmpd="sng" algn="ctr">
              <a:solidFill>
                <a:srgbClr val="00AEEF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grpSp>
        <p:nvGrpSpPr>
          <p:cNvPr id="23" name="Group 22"/>
          <p:cNvGrpSpPr/>
          <p:nvPr/>
        </p:nvGrpSpPr>
        <p:grpSpPr>
          <a:xfrm>
            <a:off x="2632560" y="4217595"/>
            <a:ext cx="3054790" cy="1535785"/>
            <a:chOff x="5715003" y="4241802"/>
            <a:chExt cx="3054790" cy="1535785"/>
          </a:xfrm>
        </p:grpSpPr>
        <p:sp>
          <p:nvSpPr>
            <p:cNvPr id="6" name="TextBox 5"/>
            <p:cNvSpPr txBox="1"/>
            <p:nvPr/>
          </p:nvSpPr>
          <p:spPr>
            <a:xfrm>
              <a:off x="7924800" y="5346700"/>
              <a:ext cx="844993" cy="4308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2800" b="1" i="1" dirty="0" smtClean="0">
                  <a:solidFill>
                    <a:srgbClr val="000000"/>
                  </a:solidFill>
                  <a:latin typeface="Expert Sans Regular"/>
                </a:rPr>
                <a:t>Why</a:t>
              </a:r>
              <a:endParaRPr lang="en-US" sz="2000" b="1" i="1" dirty="0" smtClean="0">
                <a:solidFill>
                  <a:srgbClr val="000000"/>
                </a:solidFill>
                <a:latin typeface="Expert Sans Regular"/>
              </a:endParaRPr>
            </a:p>
          </p:txBody>
        </p:sp>
        <p:cxnSp>
          <p:nvCxnSpPr>
            <p:cNvPr id="15" name="Straight Arrow Connector 14"/>
            <p:cNvCxnSpPr>
              <a:stCxn id="6" idx="0"/>
            </p:cNvCxnSpPr>
            <p:nvPr/>
          </p:nvCxnSpPr>
          <p:spPr bwMode="auto">
            <a:xfrm flipH="1" flipV="1">
              <a:off x="5715003" y="4241802"/>
              <a:ext cx="2632294" cy="1104898"/>
            </a:xfrm>
            <a:prstGeom prst="straightConnector1">
              <a:avLst/>
            </a:prstGeom>
            <a:noFill/>
            <a:ln w="38100" cap="flat" cmpd="sng" algn="ctr">
              <a:solidFill>
                <a:srgbClr val="00AEEF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3449138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Rectangle 2"/>
          <p:cNvSpPr>
            <a:spLocks noChangeArrowheads="1"/>
          </p:cNvSpPr>
          <p:nvPr/>
        </p:nvSpPr>
        <p:spPr bwMode="auto">
          <a:xfrm>
            <a:off x="2650156" y="188915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US" sz="2400" b="0" dirty="0" smtClean="0">
                <a:solidFill>
                  <a:srgbClr val="00A4E8"/>
                </a:solidFill>
              </a:rPr>
              <a:t>Delivery</a:t>
            </a:r>
            <a:endParaRPr lang="en-US" sz="2400" b="0" dirty="0">
              <a:solidFill>
                <a:srgbClr val="00A4E8"/>
              </a:solidFill>
            </a:endParaRPr>
          </a:p>
        </p:txBody>
      </p:sp>
      <p:sp>
        <p:nvSpPr>
          <p:cNvPr id="4" name="Rectangle 4"/>
          <p:cNvSpPr/>
          <p:nvPr/>
        </p:nvSpPr>
        <p:spPr>
          <a:xfrm>
            <a:off x="2412966" y="1586941"/>
            <a:ext cx="6315844" cy="234776"/>
          </a:xfrm>
          <a:custGeom>
            <a:avLst/>
            <a:gdLst>
              <a:gd name="connsiteX0" fmla="*/ 0 w 3733800"/>
              <a:gd name="connsiteY0" fmla="*/ 0 h 381000"/>
              <a:gd name="connsiteX1" fmla="*/ 3733800 w 3733800"/>
              <a:gd name="connsiteY1" fmla="*/ 0 h 381000"/>
              <a:gd name="connsiteX2" fmla="*/ 3733800 w 3733800"/>
              <a:gd name="connsiteY2" fmla="*/ 381000 h 381000"/>
              <a:gd name="connsiteX3" fmla="*/ 0 w 3733800"/>
              <a:gd name="connsiteY3" fmla="*/ 381000 h 381000"/>
              <a:gd name="connsiteX4" fmla="*/ 0 w 3733800"/>
              <a:gd name="connsiteY4" fmla="*/ 0 h 381000"/>
              <a:gd name="connsiteX0" fmla="*/ 0 w 3733800"/>
              <a:gd name="connsiteY0" fmla="*/ 0 h 381000"/>
              <a:gd name="connsiteX1" fmla="*/ 3733800 w 3733800"/>
              <a:gd name="connsiteY1" fmla="*/ 0 h 381000"/>
              <a:gd name="connsiteX2" fmla="*/ 3733800 w 3733800"/>
              <a:gd name="connsiteY2" fmla="*/ 381000 h 381000"/>
              <a:gd name="connsiteX3" fmla="*/ 239111 w 3733800"/>
              <a:gd name="connsiteY3" fmla="*/ 374952 h 381000"/>
              <a:gd name="connsiteX4" fmla="*/ 0 w 3733800"/>
              <a:gd name="connsiteY4" fmla="*/ 381000 h 381000"/>
              <a:gd name="connsiteX5" fmla="*/ 0 w 3733800"/>
              <a:gd name="connsiteY5" fmla="*/ 0 h 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33800" h="381000">
                <a:moveTo>
                  <a:pt x="0" y="0"/>
                </a:moveTo>
                <a:lnTo>
                  <a:pt x="3733800" y="0"/>
                </a:lnTo>
                <a:lnTo>
                  <a:pt x="3733800" y="381000"/>
                </a:lnTo>
                <a:lnTo>
                  <a:pt x="239111" y="374952"/>
                </a:lnTo>
                <a:lnTo>
                  <a:pt x="0" y="381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lIns="87906" tIns="43953" rIns="87906" bIns="43953" rtlCol="0" anchor="ctr"/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tform Architecture and Design (e.g. </a:t>
            </a:r>
            <a:r>
              <a:rPr lang="en-US" sz="80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aS</a:t>
            </a: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800" b="0" kern="0" dirty="0" err="1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cker</a:t>
            </a: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Open Shift etc.| </a:t>
            </a:r>
            <a:r>
              <a:rPr lang="en-US" sz="80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Ts</a:t>
            </a: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800" b="0" kern="0" dirty="0" err="1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lio</a:t>
            </a: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800" b="0" kern="0" dirty="0" err="1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c</a:t>
            </a: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| Cloud NPE)</a:t>
            </a:r>
          </a:p>
        </p:txBody>
      </p:sp>
      <p:sp>
        <p:nvSpPr>
          <p:cNvPr id="5" name="Down Arrow 4"/>
          <p:cNvSpPr/>
          <p:nvPr/>
        </p:nvSpPr>
        <p:spPr>
          <a:xfrm>
            <a:off x="8430351" y="1499408"/>
            <a:ext cx="211128" cy="260736"/>
          </a:xfrm>
          <a:prstGeom prst="downArrow">
            <a:avLst/>
          </a:prstGeom>
          <a:solidFill>
            <a:srgbClr val="1F3B9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Down Arrow 5"/>
          <p:cNvSpPr/>
          <p:nvPr/>
        </p:nvSpPr>
        <p:spPr>
          <a:xfrm>
            <a:off x="2660782" y="1499408"/>
            <a:ext cx="211128" cy="260736"/>
          </a:xfrm>
          <a:prstGeom prst="downArrow">
            <a:avLst/>
          </a:prstGeom>
          <a:solidFill>
            <a:srgbClr val="1F3B9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4"/>
          <p:cNvSpPr/>
          <p:nvPr/>
        </p:nvSpPr>
        <p:spPr>
          <a:xfrm>
            <a:off x="2412966" y="1301540"/>
            <a:ext cx="6315844" cy="234776"/>
          </a:xfrm>
          <a:custGeom>
            <a:avLst/>
            <a:gdLst>
              <a:gd name="connsiteX0" fmla="*/ 0 w 3733800"/>
              <a:gd name="connsiteY0" fmla="*/ 0 h 381000"/>
              <a:gd name="connsiteX1" fmla="*/ 3733800 w 3733800"/>
              <a:gd name="connsiteY1" fmla="*/ 0 h 381000"/>
              <a:gd name="connsiteX2" fmla="*/ 3733800 w 3733800"/>
              <a:gd name="connsiteY2" fmla="*/ 381000 h 381000"/>
              <a:gd name="connsiteX3" fmla="*/ 0 w 3733800"/>
              <a:gd name="connsiteY3" fmla="*/ 381000 h 381000"/>
              <a:gd name="connsiteX4" fmla="*/ 0 w 3733800"/>
              <a:gd name="connsiteY4" fmla="*/ 0 h 381000"/>
              <a:gd name="connsiteX0" fmla="*/ 0 w 3733800"/>
              <a:gd name="connsiteY0" fmla="*/ 0 h 381000"/>
              <a:gd name="connsiteX1" fmla="*/ 3733800 w 3733800"/>
              <a:gd name="connsiteY1" fmla="*/ 0 h 381000"/>
              <a:gd name="connsiteX2" fmla="*/ 3733800 w 3733800"/>
              <a:gd name="connsiteY2" fmla="*/ 381000 h 381000"/>
              <a:gd name="connsiteX3" fmla="*/ 239111 w 3733800"/>
              <a:gd name="connsiteY3" fmla="*/ 374952 h 381000"/>
              <a:gd name="connsiteX4" fmla="*/ 0 w 3733800"/>
              <a:gd name="connsiteY4" fmla="*/ 381000 h 381000"/>
              <a:gd name="connsiteX5" fmla="*/ 0 w 3733800"/>
              <a:gd name="connsiteY5" fmla="*/ 0 h 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33800" h="381000">
                <a:moveTo>
                  <a:pt x="0" y="0"/>
                </a:moveTo>
                <a:lnTo>
                  <a:pt x="3733800" y="0"/>
                </a:lnTo>
                <a:lnTo>
                  <a:pt x="3733800" y="381000"/>
                </a:lnTo>
                <a:lnTo>
                  <a:pt x="239111" y="374952"/>
                </a:lnTo>
                <a:lnTo>
                  <a:pt x="0" y="381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lIns="87906" tIns="43953" rIns="87906" bIns="43953" rtlCol="0" anchor="ctr"/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 Profiling  </a:t>
            </a:r>
          </a:p>
        </p:txBody>
      </p:sp>
      <p:sp>
        <p:nvSpPr>
          <p:cNvPr id="8" name="Down Arrow 7"/>
          <p:cNvSpPr/>
          <p:nvPr/>
        </p:nvSpPr>
        <p:spPr>
          <a:xfrm>
            <a:off x="8430351" y="1214006"/>
            <a:ext cx="211128" cy="260736"/>
          </a:xfrm>
          <a:prstGeom prst="downArrow">
            <a:avLst/>
          </a:prstGeom>
          <a:solidFill>
            <a:srgbClr val="1F3B9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Down Arrow 9"/>
          <p:cNvSpPr/>
          <p:nvPr/>
        </p:nvSpPr>
        <p:spPr>
          <a:xfrm rot="16200000">
            <a:off x="1932079" y="6067269"/>
            <a:ext cx="283835" cy="587849"/>
          </a:xfrm>
          <a:prstGeom prst="downArrow">
            <a:avLst/>
          </a:prstGeom>
          <a:solidFill>
            <a:srgbClr val="ADCDEC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384866" y="1867515"/>
            <a:ext cx="2311239" cy="997596"/>
          </a:xfrm>
          <a:prstGeom prst="rect">
            <a:avLst/>
          </a:prstGeom>
          <a:solidFill>
            <a:srgbClr val="219D44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List</a:t>
            </a:r>
            <a:br>
              <a:rPr lang="en-US" sz="10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Ops Ready (20%)</a:t>
            </a:r>
          </a:p>
          <a:p>
            <a:pPr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iteria:</a:t>
            </a:r>
          </a:p>
          <a:p>
            <a:pPr marL="182880" indent="-9144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 Stack: Java</a:t>
            </a:r>
          </a:p>
          <a:p>
            <a:pPr marL="182880" indent="-9144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loyment Method: Package based deploy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765233" y="1867514"/>
            <a:ext cx="1955326" cy="999859"/>
          </a:xfrm>
          <a:prstGeom prst="rect">
            <a:avLst/>
          </a:prstGeom>
          <a:solidFill>
            <a:srgbClr val="F6921E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 List</a:t>
            </a:r>
            <a:r>
              <a:rPr lang="en-US" sz="12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12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ed Change (30%)</a:t>
            </a:r>
          </a:p>
          <a:p>
            <a:pPr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iteria:</a:t>
            </a:r>
          </a:p>
          <a:p>
            <a:pPr marL="182880" indent="-9144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 Stack: Java, .NET, Database</a:t>
            </a:r>
          </a:p>
          <a:p>
            <a:pPr marL="182880" indent="-9144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loyment Method: Scripts, Objects, Packages with Custom Integration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779811" y="1867514"/>
            <a:ext cx="1955326" cy="1019543"/>
          </a:xfrm>
          <a:prstGeom prst="rect">
            <a:avLst/>
          </a:prstGeom>
          <a:solidFill>
            <a:srgbClr val="FC2D07"/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 List</a:t>
            </a:r>
            <a:r>
              <a:rPr lang="en-US" sz="12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12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 Ready (50%)</a:t>
            </a:r>
          </a:p>
          <a:p>
            <a:pPr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iteria:</a:t>
            </a:r>
          </a:p>
          <a:p>
            <a:pPr marL="182880" indent="-9144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 Stack: COTS, Legacy </a:t>
            </a:r>
          </a:p>
          <a:p>
            <a:pPr marL="182880" indent="-9144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700" b="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loyment Method: scripts, objects, packages with custom integration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8822771" y="1249730"/>
            <a:ext cx="979747" cy="4869688"/>
          </a:xfrm>
          <a:prstGeom prst="rect">
            <a:avLst/>
          </a:prstGeom>
          <a:solidFill>
            <a:srgbClr val="ADCDEC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ilds: </a:t>
            </a:r>
            <a:r>
              <a:rPr lang="en-US" sz="800" b="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inuous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0" kern="0" dirty="0">
              <a:solidFill>
                <a:srgbClr val="1F3B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vironments: </a:t>
            </a:r>
            <a:r>
              <a:rPr lang="en-US" sz="800" b="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 Demand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0" kern="0" dirty="0">
              <a:solidFill>
                <a:srgbClr val="1F3B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ation Testing</a:t>
            </a:r>
            <a:r>
              <a:rPr lang="en-US" sz="90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5</a:t>
            </a:r>
            <a:r>
              <a:rPr lang="en-US" sz="800" b="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 automation coverage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0" kern="0" dirty="0">
              <a:solidFill>
                <a:srgbClr val="1F3B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lease: </a:t>
            </a:r>
            <a:r>
              <a:rPr lang="en-US" sz="90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90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</a:t>
            </a:r>
            <a:r>
              <a:rPr lang="en-US" sz="800" b="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deployments to CIT, ST. 1-click to E2E SIT, UAT, NFT, OAT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0" kern="0" dirty="0">
              <a:solidFill>
                <a:srgbClr val="1F3B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lidation: </a:t>
            </a:r>
            <a:r>
              <a:rPr lang="en-US" sz="900" kern="0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900" kern="0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0-100% </a:t>
            </a:r>
            <a:r>
              <a:rPr lang="en-US" sz="800" b="0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atic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0" kern="0" dirty="0">
              <a:solidFill>
                <a:srgbClr val="1F3B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gging/Monitoring: </a:t>
            </a: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al </a:t>
            </a:r>
            <a:r>
              <a:rPr lang="en-US" sz="800" b="0" kern="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me ELK based</a:t>
            </a:r>
          </a:p>
        </p:txBody>
      </p:sp>
      <p:sp>
        <p:nvSpPr>
          <p:cNvPr id="17" name="Rectangle 16"/>
          <p:cNvSpPr/>
          <p:nvPr/>
        </p:nvSpPr>
        <p:spPr>
          <a:xfrm>
            <a:off x="8823222" y="881522"/>
            <a:ext cx="979747" cy="358471"/>
          </a:xfrm>
          <a:prstGeom prst="rect">
            <a:avLst/>
          </a:prstGeom>
          <a:solidFill>
            <a:srgbClr val="1F3B92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RGET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40739" y="1141786"/>
            <a:ext cx="1854503" cy="3862093"/>
          </a:xfrm>
          <a:prstGeom prst="rect">
            <a:avLst/>
          </a:prstGeom>
          <a:noFill/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394234" y="6103709"/>
            <a:ext cx="6334962" cy="5092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91081" y="5396006"/>
            <a:ext cx="1836164" cy="115414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Down Arrow 22"/>
          <p:cNvSpPr/>
          <p:nvPr/>
        </p:nvSpPr>
        <p:spPr>
          <a:xfrm rot="16200000">
            <a:off x="2011666" y="1469440"/>
            <a:ext cx="315289" cy="252887"/>
          </a:xfrm>
          <a:prstGeom prst="downArrow">
            <a:avLst/>
          </a:prstGeom>
          <a:solidFill>
            <a:srgbClr val="ADCDEC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136344" y="2087432"/>
            <a:ext cx="566271" cy="264165"/>
          </a:xfrm>
          <a:prstGeom prst="rect">
            <a:avLst/>
          </a:prstGeom>
          <a:noFill/>
        </p:spPr>
        <p:txBody>
          <a:bodyPr wrap="none" lIns="87906" tIns="43953" rIns="87906" bIns="43953" rtlCol="0">
            <a:spAutoFit/>
          </a:bodyPr>
          <a:lstStyle/>
          <a:p>
            <a:pPr defTabSz="34286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prstClr val="white">
                    <a:alpha val="7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-9 mo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041200" y="2067748"/>
            <a:ext cx="626370" cy="227264"/>
          </a:xfrm>
          <a:prstGeom prst="rect">
            <a:avLst/>
          </a:prstGeom>
          <a:noFill/>
        </p:spPr>
        <p:txBody>
          <a:bodyPr wrap="none" lIns="87906" tIns="43953" rIns="87906" bIns="43953" rtlCol="0">
            <a:spAutoFit/>
          </a:bodyPr>
          <a:lstStyle/>
          <a:p>
            <a:pPr defTabSz="34286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prstClr val="white">
                    <a:alpha val="7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-18 </a:t>
            </a:r>
            <a:r>
              <a:rPr lang="en-US" sz="900" dirty="0">
                <a:solidFill>
                  <a:prstClr val="white">
                    <a:alpha val="7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</a:t>
            </a:r>
          </a:p>
        </p:txBody>
      </p:sp>
      <p:sp>
        <p:nvSpPr>
          <p:cNvPr id="26" name="Down Arrow 25"/>
          <p:cNvSpPr/>
          <p:nvPr/>
        </p:nvSpPr>
        <p:spPr>
          <a:xfrm>
            <a:off x="7659499" y="1851365"/>
            <a:ext cx="195950" cy="178401"/>
          </a:xfrm>
          <a:prstGeom prst="downArrow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Down Arrow 26"/>
          <p:cNvSpPr/>
          <p:nvPr/>
        </p:nvSpPr>
        <p:spPr>
          <a:xfrm>
            <a:off x="3442511" y="1855627"/>
            <a:ext cx="195950" cy="178401"/>
          </a:xfrm>
          <a:prstGeom prst="downArrow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Down Arrow 27"/>
          <p:cNvSpPr/>
          <p:nvPr/>
        </p:nvSpPr>
        <p:spPr>
          <a:xfrm>
            <a:off x="5644921" y="1856787"/>
            <a:ext cx="195950" cy="178401"/>
          </a:xfrm>
          <a:prstGeom prst="downArrow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309091" y="5145512"/>
            <a:ext cx="626370" cy="227264"/>
          </a:xfrm>
          <a:prstGeom prst="rect">
            <a:avLst/>
          </a:prstGeom>
          <a:noFill/>
        </p:spPr>
        <p:txBody>
          <a:bodyPr wrap="none" lIns="87906" tIns="43953" rIns="87906" bIns="43953" rtlCol="0">
            <a:spAutoFit/>
          </a:bodyPr>
          <a:lstStyle/>
          <a:p>
            <a:pPr defTabSz="34286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F370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-18 </a:t>
            </a:r>
            <a:r>
              <a:rPr lang="en-US" sz="900" dirty="0">
                <a:solidFill>
                  <a:srgbClr val="F370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495056" y="885017"/>
            <a:ext cx="566271" cy="264165"/>
          </a:xfrm>
          <a:prstGeom prst="rect">
            <a:avLst/>
          </a:prstGeom>
          <a:noFill/>
        </p:spPr>
        <p:txBody>
          <a:bodyPr wrap="none" lIns="87906" tIns="43953" rIns="87906" bIns="43953" rtlCol="0">
            <a:spAutoFit/>
          </a:bodyPr>
          <a:lstStyle/>
          <a:p>
            <a:pPr algn="r" defTabSz="34286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F370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-3 mo</a:t>
            </a:r>
          </a:p>
        </p:txBody>
      </p:sp>
      <p:sp>
        <p:nvSpPr>
          <p:cNvPr id="34" name="Rectangle 33"/>
          <p:cNvSpPr/>
          <p:nvPr/>
        </p:nvSpPr>
        <p:spPr>
          <a:xfrm>
            <a:off x="8823222" y="6119418"/>
            <a:ext cx="979747" cy="503414"/>
          </a:xfrm>
          <a:prstGeom prst="rect">
            <a:avLst/>
          </a:prstGeom>
          <a:solidFill>
            <a:srgbClr val="1F3B92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-18 MONTH </a:t>
            </a:r>
            <a:r>
              <a:rPr lang="en-US" sz="11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OURNEY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7467763" y="6512060"/>
            <a:ext cx="1249010" cy="107684"/>
            <a:chOff x="3632200" y="4781550"/>
            <a:chExt cx="2057731" cy="168842"/>
          </a:xfrm>
          <a:solidFill>
            <a:srgbClr val="1F3B92"/>
          </a:solidFill>
        </p:grpSpPr>
        <p:sp>
          <p:nvSpPr>
            <p:cNvPr id="64" name="Freeform 63"/>
            <p:cNvSpPr/>
            <p:nvPr/>
          </p:nvSpPr>
          <p:spPr>
            <a:xfrm rot="60000">
              <a:off x="5105400" y="4781550"/>
              <a:ext cx="584531" cy="168842"/>
            </a:xfrm>
            <a:custGeom>
              <a:avLst/>
              <a:gdLst>
                <a:gd name="connsiteX0" fmla="*/ 0 w 603504"/>
                <a:gd name="connsiteY0" fmla="*/ 201185 h 201185"/>
                <a:gd name="connsiteX1" fmla="*/ 256032 w 603504"/>
                <a:gd name="connsiteY1" fmla="*/ 17 h 201185"/>
                <a:gd name="connsiteX2" fmla="*/ 603504 w 603504"/>
                <a:gd name="connsiteY2" fmla="*/ 192041 h 201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3504" h="201185">
                  <a:moveTo>
                    <a:pt x="0" y="201185"/>
                  </a:moveTo>
                  <a:cubicBezTo>
                    <a:pt x="77724" y="101363"/>
                    <a:pt x="155448" y="1541"/>
                    <a:pt x="256032" y="17"/>
                  </a:cubicBezTo>
                  <a:cubicBezTo>
                    <a:pt x="356616" y="-1507"/>
                    <a:pt x="480060" y="95267"/>
                    <a:pt x="603504" y="192041"/>
                  </a:cubicBezTo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5" name="Freeform 64"/>
            <p:cNvSpPr/>
            <p:nvPr/>
          </p:nvSpPr>
          <p:spPr>
            <a:xfrm rot="60000">
              <a:off x="4622800" y="4781550"/>
              <a:ext cx="584531" cy="168842"/>
            </a:xfrm>
            <a:custGeom>
              <a:avLst/>
              <a:gdLst>
                <a:gd name="connsiteX0" fmla="*/ 0 w 603504"/>
                <a:gd name="connsiteY0" fmla="*/ 201185 h 201185"/>
                <a:gd name="connsiteX1" fmla="*/ 256032 w 603504"/>
                <a:gd name="connsiteY1" fmla="*/ 17 h 201185"/>
                <a:gd name="connsiteX2" fmla="*/ 603504 w 603504"/>
                <a:gd name="connsiteY2" fmla="*/ 192041 h 201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3504" h="201185">
                  <a:moveTo>
                    <a:pt x="0" y="201185"/>
                  </a:moveTo>
                  <a:cubicBezTo>
                    <a:pt x="77724" y="101363"/>
                    <a:pt x="155448" y="1541"/>
                    <a:pt x="256032" y="17"/>
                  </a:cubicBezTo>
                  <a:cubicBezTo>
                    <a:pt x="356616" y="-1507"/>
                    <a:pt x="480060" y="95267"/>
                    <a:pt x="603504" y="192041"/>
                  </a:cubicBezTo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6" name="Freeform 65"/>
            <p:cNvSpPr/>
            <p:nvPr/>
          </p:nvSpPr>
          <p:spPr>
            <a:xfrm rot="60000">
              <a:off x="4114800" y="4781550"/>
              <a:ext cx="584531" cy="168842"/>
            </a:xfrm>
            <a:custGeom>
              <a:avLst/>
              <a:gdLst>
                <a:gd name="connsiteX0" fmla="*/ 0 w 603504"/>
                <a:gd name="connsiteY0" fmla="*/ 201185 h 201185"/>
                <a:gd name="connsiteX1" fmla="*/ 256032 w 603504"/>
                <a:gd name="connsiteY1" fmla="*/ 17 h 201185"/>
                <a:gd name="connsiteX2" fmla="*/ 603504 w 603504"/>
                <a:gd name="connsiteY2" fmla="*/ 192041 h 201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3504" h="201185">
                  <a:moveTo>
                    <a:pt x="0" y="201185"/>
                  </a:moveTo>
                  <a:cubicBezTo>
                    <a:pt x="77724" y="101363"/>
                    <a:pt x="155448" y="1541"/>
                    <a:pt x="256032" y="17"/>
                  </a:cubicBezTo>
                  <a:cubicBezTo>
                    <a:pt x="356616" y="-1507"/>
                    <a:pt x="480060" y="95267"/>
                    <a:pt x="603504" y="192041"/>
                  </a:cubicBezTo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7" name="Freeform 66"/>
            <p:cNvSpPr/>
            <p:nvPr/>
          </p:nvSpPr>
          <p:spPr>
            <a:xfrm rot="60000">
              <a:off x="3632200" y="4781550"/>
              <a:ext cx="584531" cy="168842"/>
            </a:xfrm>
            <a:custGeom>
              <a:avLst/>
              <a:gdLst>
                <a:gd name="connsiteX0" fmla="*/ 0 w 603504"/>
                <a:gd name="connsiteY0" fmla="*/ 201185 h 201185"/>
                <a:gd name="connsiteX1" fmla="*/ 256032 w 603504"/>
                <a:gd name="connsiteY1" fmla="*/ 17 h 201185"/>
                <a:gd name="connsiteX2" fmla="*/ 603504 w 603504"/>
                <a:gd name="connsiteY2" fmla="*/ 192041 h 201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3504" h="201185">
                  <a:moveTo>
                    <a:pt x="0" y="201185"/>
                  </a:moveTo>
                  <a:cubicBezTo>
                    <a:pt x="77724" y="101363"/>
                    <a:pt x="155448" y="1541"/>
                    <a:pt x="256032" y="17"/>
                  </a:cubicBezTo>
                  <a:cubicBezTo>
                    <a:pt x="356616" y="-1507"/>
                    <a:pt x="480060" y="95267"/>
                    <a:pt x="603504" y="192041"/>
                  </a:cubicBezTo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6" name="Rectangle 35"/>
          <p:cNvSpPr/>
          <p:nvPr/>
        </p:nvSpPr>
        <p:spPr>
          <a:xfrm>
            <a:off x="99515" y="5423073"/>
            <a:ext cx="1835775" cy="286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866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Ops Platform Build Out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221277" y="5769662"/>
            <a:ext cx="1620352" cy="638859"/>
            <a:chOff x="304797" y="4131459"/>
            <a:chExt cx="1667935" cy="549617"/>
          </a:xfrm>
        </p:grpSpPr>
        <p:sp>
          <p:nvSpPr>
            <p:cNvPr id="61" name="Freeform 60"/>
            <p:cNvSpPr/>
            <p:nvPr/>
          </p:nvSpPr>
          <p:spPr>
            <a:xfrm>
              <a:off x="304797" y="4131459"/>
              <a:ext cx="1667935" cy="161377"/>
            </a:xfrm>
            <a:custGeom>
              <a:avLst/>
              <a:gdLst>
                <a:gd name="connsiteX0" fmla="*/ 0 w 1521438"/>
                <a:gd name="connsiteY0" fmla="*/ 26897 h 161377"/>
                <a:gd name="connsiteX1" fmla="*/ 26897 w 1521438"/>
                <a:gd name="connsiteY1" fmla="*/ 0 h 161377"/>
                <a:gd name="connsiteX2" fmla="*/ 1494541 w 1521438"/>
                <a:gd name="connsiteY2" fmla="*/ 0 h 161377"/>
                <a:gd name="connsiteX3" fmla="*/ 1521438 w 1521438"/>
                <a:gd name="connsiteY3" fmla="*/ 26897 h 161377"/>
                <a:gd name="connsiteX4" fmla="*/ 1521438 w 1521438"/>
                <a:gd name="connsiteY4" fmla="*/ 134480 h 161377"/>
                <a:gd name="connsiteX5" fmla="*/ 1494541 w 1521438"/>
                <a:gd name="connsiteY5" fmla="*/ 161377 h 161377"/>
                <a:gd name="connsiteX6" fmla="*/ 26897 w 1521438"/>
                <a:gd name="connsiteY6" fmla="*/ 161377 h 161377"/>
                <a:gd name="connsiteX7" fmla="*/ 0 w 1521438"/>
                <a:gd name="connsiteY7" fmla="*/ 134480 h 161377"/>
                <a:gd name="connsiteX8" fmla="*/ 0 w 1521438"/>
                <a:gd name="connsiteY8" fmla="*/ 26897 h 1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1438" h="161377">
                  <a:moveTo>
                    <a:pt x="0" y="26897"/>
                  </a:moveTo>
                  <a:cubicBezTo>
                    <a:pt x="0" y="12042"/>
                    <a:pt x="12042" y="0"/>
                    <a:pt x="26897" y="0"/>
                  </a:cubicBezTo>
                  <a:lnTo>
                    <a:pt x="1494541" y="0"/>
                  </a:lnTo>
                  <a:cubicBezTo>
                    <a:pt x="1509396" y="0"/>
                    <a:pt x="1521438" y="12042"/>
                    <a:pt x="1521438" y="26897"/>
                  </a:cubicBezTo>
                  <a:lnTo>
                    <a:pt x="1521438" y="134480"/>
                  </a:lnTo>
                  <a:cubicBezTo>
                    <a:pt x="1521438" y="149335"/>
                    <a:pt x="1509396" y="161377"/>
                    <a:pt x="1494541" y="161377"/>
                  </a:cubicBezTo>
                  <a:lnTo>
                    <a:pt x="26897" y="161377"/>
                  </a:lnTo>
                  <a:cubicBezTo>
                    <a:pt x="12042" y="161377"/>
                    <a:pt x="0" y="149335"/>
                    <a:pt x="0" y="134480"/>
                  </a:cubicBezTo>
                  <a:lnTo>
                    <a:pt x="0" y="26897"/>
                  </a:lnTo>
                  <a:close/>
                </a:path>
              </a:pathLst>
            </a:custGeom>
            <a:solidFill>
              <a:srgbClr val="1F3B92"/>
            </a:soli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plastic"/>
          </p:spPr>
          <p:txBody>
            <a:bodyPr spcFirstLastPara="0" vert="horz" wrap="square" lIns="38358" tIns="0" rIns="38358" bIns="18288" numCol="1" spcCol="1270" anchor="ctr" anchorCtr="0">
              <a:noAutofit/>
            </a:bodyPr>
            <a:lstStyle/>
            <a:p>
              <a:pPr algn="ctr" defTabSz="3556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800" b="0" kern="0" dirty="0" smtClean="0">
                  <a:ln/>
                  <a:solidFill>
                    <a:prstClr val="white"/>
                  </a:solidFill>
                  <a:latin typeface="Calibri"/>
                  <a:cs typeface="Arial"/>
                </a:rPr>
                <a:t>Base </a:t>
              </a:r>
              <a:r>
                <a:rPr lang="en-US" sz="800" b="0" kern="0" dirty="0" err="1" smtClean="0">
                  <a:ln/>
                  <a:solidFill>
                    <a:prstClr val="white"/>
                  </a:solidFill>
                  <a:latin typeface="Calibri"/>
                  <a:cs typeface="Arial"/>
                </a:rPr>
                <a:t>Impl</a:t>
              </a:r>
              <a:endParaRPr lang="en-US" sz="800" b="0" kern="0" dirty="0" smtClean="0">
                <a:ln/>
                <a:solidFill>
                  <a:prstClr val="white"/>
                </a:solidFill>
                <a:latin typeface="Calibri"/>
                <a:cs typeface="Arial"/>
              </a:endParaRPr>
            </a:p>
          </p:txBody>
        </p:sp>
        <p:sp>
          <p:nvSpPr>
            <p:cNvPr id="62" name="Freeform 61"/>
            <p:cNvSpPr/>
            <p:nvPr/>
          </p:nvSpPr>
          <p:spPr>
            <a:xfrm>
              <a:off x="304797" y="4325579"/>
              <a:ext cx="1667935" cy="161377"/>
            </a:xfrm>
            <a:custGeom>
              <a:avLst/>
              <a:gdLst>
                <a:gd name="connsiteX0" fmla="*/ 0 w 1521438"/>
                <a:gd name="connsiteY0" fmla="*/ 26897 h 161377"/>
                <a:gd name="connsiteX1" fmla="*/ 26897 w 1521438"/>
                <a:gd name="connsiteY1" fmla="*/ 0 h 161377"/>
                <a:gd name="connsiteX2" fmla="*/ 1494541 w 1521438"/>
                <a:gd name="connsiteY2" fmla="*/ 0 h 161377"/>
                <a:gd name="connsiteX3" fmla="*/ 1521438 w 1521438"/>
                <a:gd name="connsiteY3" fmla="*/ 26897 h 161377"/>
                <a:gd name="connsiteX4" fmla="*/ 1521438 w 1521438"/>
                <a:gd name="connsiteY4" fmla="*/ 134480 h 161377"/>
                <a:gd name="connsiteX5" fmla="*/ 1494541 w 1521438"/>
                <a:gd name="connsiteY5" fmla="*/ 161377 h 161377"/>
                <a:gd name="connsiteX6" fmla="*/ 26897 w 1521438"/>
                <a:gd name="connsiteY6" fmla="*/ 161377 h 161377"/>
                <a:gd name="connsiteX7" fmla="*/ 0 w 1521438"/>
                <a:gd name="connsiteY7" fmla="*/ 134480 h 161377"/>
                <a:gd name="connsiteX8" fmla="*/ 0 w 1521438"/>
                <a:gd name="connsiteY8" fmla="*/ 26897 h 1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1438" h="161377">
                  <a:moveTo>
                    <a:pt x="0" y="26897"/>
                  </a:moveTo>
                  <a:cubicBezTo>
                    <a:pt x="0" y="12042"/>
                    <a:pt x="12042" y="0"/>
                    <a:pt x="26897" y="0"/>
                  </a:cubicBezTo>
                  <a:lnTo>
                    <a:pt x="1494541" y="0"/>
                  </a:lnTo>
                  <a:cubicBezTo>
                    <a:pt x="1509396" y="0"/>
                    <a:pt x="1521438" y="12042"/>
                    <a:pt x="1521438" y="26897"/>
                  </a:cubicBezTo>
                  <a:lnTo>
                    <a:pt x="1521438" y="134480"/>
                  </a:lnTo>
                  <a:cubicBezTo>
                    <a:pt x="1521438" y="149335"/>
                    <a:pt x="1509396" y="161377"/>
                    <a:pt x="1494541" y="161377"/>
                  </a:cubicBezTo>
                  <a:lnTo>
                    <a:pt x="26897" y="161377"/>
                  </a:lnTo>
                  <a:cubicBezTo>
                    <a:pt x="12042" y="161377"/>
                    <a:pt x="0" y="149335"/>
                    <a:pt x="0" y="134480"/>
                  </a:cubicBezTo>
                  <a:lnTo>
                    <a:pt x="0" y="26897"/>
                  </a:lnTo>
                  <a:close/>
                </a:path>
              </a:pathLst>
            </a:custGeom>
            <a:solidFill>
              <a:srgbClr val="1F3B92"/>
            </a:soli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plastic"/>
          </p:spPr>
          <p:txBody>
            <a:bodyPr spcFirstLastPara="0" vert="horz" wrap="square" lIns="38358" tIns="0" rIns="38358" bIns="18288" numCol="1" spcCol="1270" anchor="ctr" anchorCtr="0">
              <a:noAutofit/>
            </a:bodyPr>
            <a:lstStyle/>
            <a:p>
              <a:pPr algn="ctr" defTabSz="3556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800" b="0" kern="0" dirty="0" smtClean="0">
                  <a:ln/>
                  <a:solidFill>
                    <a:prstClr val="white"/>
                  </a:solidFill>
                  <a:latin typeface="Calibri"/>
                  <a:cs typeface="Arial"/>
                </a:rPr>
                <a:t>Customization</a:t>
              </a:r>
            </a:p>
          </p:txBody>
        </p:sp>
        <p:sp>
          <p:nvSpPr>
            <p:cNvPr id="63" name="Freeform 62"/>
            <p:cNvSpPr/>
            <p:nvPr/>
          </p:nvSpPr>
          <p:spPr>
            <a:xfrm>
              <a:off x="304797" y="4519699"/>
              <a:ext cx="1667935" cy="161377"/>
            </a:xfrm>
            <a:custGeom>
              <a:avLst/>
              <a:gdLst>
                <a:gd name="connsiteX0" fmla="*/ 0 w 1521438"/>
                <a:gd name="connsiteY0" fmla="*/ 26897 h 161377"/>
                <a:gd name="connsiteX1" fmla="*/ 26897 w 1521438"/>
                <a:gd name="connsiteY1" fmla="*/ 0 h 161377"/>
                <a:gd name="connsiteX2" fmla="*/ 1494541 w 1521438"/>
                <a:gd name="connsiteY2" fmla="*/ 0 h 161377"/>
                <a:gd name="connsiteX3" fmla="*/ 1521438 w 1521438"/>
                <a:gd name="connsiteY3" fmla="*/ 26897 h 161377"/>
                <a:gd name="connsiteX4" fmla="*/ 1521438 w 1521438"/>
                <a:gd name="connsiteY4" fmla="*/ 134480 h 161377"/>
                <a:gd name="connsiteX5" fmla="*/ 1494541 w 1521438"/>
                <a:gd name="connsiteY5" fmla="*/ 161377 h 161377"/>
                <a:gd name="connsiteX6" fmla="*/ 26897 w 1521438"/>
                <a:gd name="connsiteY6" fmla="*/ 161377 h 161377"/>
                <a:gd name="connsiteX7" fmla="*/ 0 w 1521438"/>
                <a:gd name="connsiteY7" fmla="*/ 134480 h 161377"/>
                <a:gd name="connsiteX8" fmla="*/ 0 w 1521438"/>
                <a:gd name="connsiteY8" fmla="*/ 26897 h 1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1438" h="161377">
                  <a:moveTo>
                    <a:pt x="0" y="26897"/>
                  </a:moveTo>
                  <a:cubicBezTo>
                    <a:pt x="0" y="12042"/>
                    <a:pt x="12042" y="0"/>
                    <a:pt x="26897" y="0"/>
                  </a:cubicBezTo>
                  <a:lnTo>
                    <a:pt x="1494541" y="0"/>
                  </a:lnTo>
                  <a:cubicBezTo>
                    <a:pt x="1509396" y="0"/>
                    <a:pt x="1521438" y="12042"/>
                    <a:pt x="1521438" y="26897"/>
                  </a:cubicBezTo>
                  <a:lnTo>
                    <a:pt x="1521438" y="134480"/>
                  </a:lnTo>
                  <a:cubicBezTo>
                    <a:pt x="1521438" y="149335"/>
                    <a:pt x="1509396" y="161377"/>
                    <a:pt x="1494541" y="161377"/>
                  </a:cubicBezTo>
                  <a:lnTo>
                    <a:pt x="26897" y="161377"/>
                  </a:lnTo>
                  <a:cubicBezTo>
                    <a:pt x="12042" y="161377"/>
                    <a:pt x="0" y="149335"/>
                    <a:pt x="0" y="134480"/>
                  </a:cubicBezTo>
                  <a:lnTo>
                    <a:pt x="0" y="26897"/>
                  </a:lnTo>
                  <a:close/>
                </a:path>
              </a:pathLst>
            </a:custGeom>
            <a:solidFill>
              <a:srgbClr val="1F3B92"/>
            </a:soli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plastic"/>
          </p:spPr>
          <p:txBody>
            <a:bodyPr spcFirstLastPara="0" vert="horz" wrap="square" lIns="38358" tIns="0" rIns="38358" bIns="18288" numCol="1" spcCol="1270" anchor="ctr" anchorCtr="0">
              <a:noAutofit/>
            </a:bodyPr>
            <a:lstStyle/>
            <a:p>
              <a:pPr algn="ctr" defTabSz="3556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800" b="0" kern="0" dirty="0" smtClean="0">
                  <a:ln/>
                  <a:solidFill>
                    <a:prstClr val="white"/>
                  </a:solidFill>
                  <a:latin typeface="Calibri"/>
                  <a:cs typeface="Arial"/>
                </a:rPr>
                <a:t>Enterprise Integration</a:t>
              </a:r>
            </a:p>
          </p:txBody>
        </p:sp>
      </p:grpSp>
      <p:sp>
        <p:nvSpPr>
          <p:cNvPr id="38" name="Rectangle 37"/>
          <p:cNvSpPr/>
          <p:nvPr/>
        </p:nvSpPr>
        <p:spPr>
          <a:xfrm>
            <a:off x="2487955" y="6309170"/>
            <a:ext cx="5732104" cy="269319"/>
          </a:xfrm>
          <a:prstGeom prst="rect">
            <a:avLst/>
          </a:prstGeom>
          <a:noFill/>
          <a:ln w="12700" cap="flat" cmpd="sng" algn="ctr">
            <a:noFill/>
            <a:prstDash val="sysDash"/>
          </a:ln>
          <a:effectLst/>
        </p:spPr>
        <p:txBody>
          <a:bodyPr rot="0" spcFirstLastPara="0" vertOverflow="overflow" horzOverflow="overflow" vert="horz" wrap="square" lIns="87906" tIns="43953" rIns="87906" bIns="43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3428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i="1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iderations</a:t>
            </a:r>
            <a:r>
              <a:rPr lang="en-US" sz="900" b="0" i="1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LOB Specific Customization  |  Zero disruption  |  4 Wave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262499" y="1267203"/>
            <a:ext cx="1732743" cy="11090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Ops Enablement Framework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9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 Stack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9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Ops Readiness Evaluation 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9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ch Evaluation</a:t>
            </a:r>
          </a:p>
        </p:txBody>
      </p:sp>
      <p:sp>
        <p:nvSpPr>
          <p:cNvPr id="40" name="Rectangle 39"/>
          <p:cNvSpPr/>
          <p:nvPr/>
        </p:nvSpPr>
        <p:spPr>
          <a:xfrm>
            <a:off x="262499" y="2566267"/>
            <a:ext cx="1813867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rclays Inputs and Dimensions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9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$$ - ESI Investment level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9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## - Strategic importance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9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% - Future Growth potential</a:t>
            </a:r>
          </a:p>
        </p:txBody>
      </p:sp>
      <p:sp>
        <p:nvSpPr>
          <p:cNvPr id="46" name="Rectangle 45"/>
          <p:cNvSpPr/>
          <p:nvPr/>
        </p:nvSpPr>
        <p:spPr>
          <a:xfrm>
            <a:off x="2477476" y="6101446"/>
            <a:ext cx="1949222" cy="3219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 On-boarding</a:t>
            </a:r>
          </a:p>
        </p:txBody>
      </p:sp>
      <p:grpSp>
        <p:nvGrpSpPr>
          <p:cNvPr id="47" name="Group 46"/>
          <p:cNvGrpSpPr/>
          <p:nvPr/>
        </p:nvGrpSpPr>
        <p:grpSpPr>
          <a:xfrm>
            <a:off x="8392503" y="1955869"/>
            <a:ext cx="240250" cy="62830"/>
            <a:chOff x="7653193" y="1919133"/>
            <a:chExt cx="271607" cy="67600"/>
          </a:xfrm>
        </p:grpSpPr>
        <p:sp>
          <p:nvSpPr>
            <p:cNvPr id="58" name="Oval 57"/>
            <p:cNvSpPr/>
            <p:nvPr/>
          </p:nvSpPr>
          <p:spPr>
            <a:xfrm>
              <a:off x="7653193" y="1919133"/>
              <a:ext cx="67248" cy="67600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FC2D07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9" name="Oval 58"/>
            <p:cNvSpPr/>
            <p:nvPr/>
          </p:nvSpPr>
          <p:spPr>
            <a:xfrm>
              <a:off x="7754791" y="1919133"/>
              <a:ext cx="67248" cy="67600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FC2D07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7857552" y="1919133"/>
              <a:ext cx="67248" cy="67600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/>
          </p:spPr>
          <p:txBody>
            <a:bodyPr rtlCol="0" anchor="ctr"/>
            <a:lstStyle/>
            <a:p>
              <a:pPr algn="ctr" defTabSz="34286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0" kern="0" dirty="0" smtClean="0">
                <a:solidFill>
                  <a:srgbClr val="FC2D07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1" name="Rectangle 50"/>
          <p:cNvSpPr/>
          <p:nvPr/>
        </p:nvSpPr>
        <p:spPr>
          <a:xfrm>
            <a:off x="7620569" y="6108562"/>
            <a:ext cx="900794" cy="35775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i="1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 </a:t>
            </a:r>
            <a:r>
              <a:rPr lang="en-US" sz="1400" i="1" dirty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aves</a:t>
            </a:r>
            <a:endParaRPr lang="en-US" sz="1400" dirty="0">
              <a:solidFill>
                <a:srgbClr val="3C3C3C"/>
              </a:solidFill>
              <a:latin typeface="Calibri"/>
            </a:endParaRPr>
          </a:p>
        </p:txBody>
      </p:sp>
      <p:sp>
        <p:nvSpPr>
          <p:cNvPr id="52" name="Down Arrow 51"/>
          <p:cNvSpPr/>
          <p:nvPr/>
        </p:nvSpPr>
        <p:spPr>
          <a:xfrm>
            <a:off x="2660782" y="1214006"/>
            <a:ext cx="211128" cy="260736"/>
          </a:xfrm>
          <a:prstGeom prst="downArrow">
            <a:avLst/>
          </a:prstGeom>
          <a:solidFill>
            <a:srgbClr val="1F3B9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" name="Rectangle 4"/>
          <p:cNvSpPr/>
          <p:nvPr/>
        </p:nvSpPr>
        <p:spPr>
          <a:xfrm>
            <a:off x="2356769" y="834158"/>
            <a:ext cx="6372041" cy="426446"/>
          </a:xfrm>
          <a:custGeom>
            <a:avLst/>
            <a:gdLst>
              <a:gd name="connsiteX0" fmla="*/ 0 w 3733800"/>
              <a:gd name="connsiteY0" fmla="*/ 0 h 381000"/>
              <a:gd name="connsiteX1" fmla="*/ 3733800 w 3733800"/>
              <a:gd name="connsiteY1" fmla="*/ 0 h 381000"/>
              <a:gd name="connsiteX2" fmla="*/ 3733800 w 3733800"/>
              <a:gd name="connsiteY2" fmla="*/ 381000 h 381000"/>
              <a:gd name="connsiteX3" fmla="*/ 0 w 3733800"/>
              <a:gd name="connsiteY3" fmla="*/ 381000 h 381000"/>
              <a:gd name="connsiteX4" fmla="*/ 0 w 3733800"/>
              <a:gd name="connsiteY4" fmla="*/ 0 h 381000"/>
              <a:gd name="connsiteX0" fmla="*/ 0 w 3733800"/>
              <a:gd name="connsiteY0" fmla="*/ 0 h 381000"/>
              <a:gd name="connsiteX1" fmla="*/ 3733800 w 3733800"/>
              <a:gd name="connsiteY1" fmla="*/ 0 h 381000"/>
              <a:gd name="connsiteX2" fmla="*/ 3733800 w 3733800"/>
              <a:gd name="connsiteY2" fmla="*/ 381000 h 381000"/>
              <a:gd name="connsiteX3" fmla="*/ 239111 w 3733800"/>
              <a:gd name="connsiteY3" fmla="*/ 374952 h 381000"/>
              <a:gd name="connsiteX4" fmla="*/ 0 w 3733800"/>
              <a:gd name="connsiteY4" fmla="*/ 381000 h 381000"/>
              <a:gd name="connsiteX5" fmla="*/ 0 w 3733800"/>
              <a:gd name="connsiteY5" fmla="*/ 0 h 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33800" h="381000">
                <a:moveTo>
                  <a:pt x="0" y="0"/>
                </a:moveTo>
                <a:lnTo>
                  <a:pt x="3733800" y="0"/>
                </a:lnTo>
                <a:lnTo>
                  <a:pt x="3733800" y="381000"/>
                </a:lnTo>
                <a:lnTo>
                  <a:pt x="239111" y="374952"/>
                </a:lnTo>
                <a:lnTo>
                  <a:pt x="0" y="381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 cap="flat" cmpd="sng" algn="ctr">
            <a:solidFill>
              <a:srgbClr val="1F3B92"/>
            </a:solidFill>
            <a:prstDash val="solid"/>
          </a:ln>
          <a:effectLst/>
        </p:spPr>
        <p:txBody>
          <a:bodyPr lIns="87906" tIns="43953" rIns="87906" bIns="43953" rtlCol="0" anchor="ctr"/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rclays Application Ecosystem</a:t>
            </a:r>
          </a:p>
          <a:p>
            <a:pPr algn="ctr" defTabSz="342866" fontAlgn="auto">
              <a:spcBef>
                <a:spcPts val="0"/>
              </a:spcBef>
              <a:spcAft>
                <a:spcPts val="0"/>
              </a:spcAft>
              <a:tabLst>
                <a:tab pos="5991638" algn="r"/>
              </a:tabLst>
              <a:defRPr/>
            </a:pPr>
            <a:r>
              <a:rPr lang="en-US" sz="900" b="0" i="1" kern="0" dirty="0" smtClean="0">
                <a:solidFill>
                  <a:srgbClr val="1F3B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yments | Corporate | … </a:t>
            </a:r>
            <a:r>
              <a:rPr lang="en-US" sz="800" b="0" i="1" kern="0" dirty="0" smtClean="0">
                <a:solidFill>
                  <a:srgbClr val="F370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va | .NET |  Siebel | … 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6178170" y="2087432"/>
            <a:ext cx="568662" cy="227264"/>
          </a:xfrm>
          <a:prstGeom prst="rect">
            <a:avLst/>
          </a:prstGeom>
          <a:noFill/>
        </p:spPr>
        <p:txBody>
          <a:bodyPr wrap="none" lIns="87906" tIns="43953" rIns="87906" bIns="43953" rtlCol="0">
            <a:spAutoFit/>
          </a:bodyPr>
          <a:lstStyle/>
          <a:p>
            <a:pPr defTabSz="342866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prstClr val="white">
                    <a:alpha val="7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-12 </a:t>
            </a:r>
            <a:r>
              <a:rPr lang="en-US" sz="900" dirty="0">
                <a:solidFill>
                  <a:prstClr val="white">
                    <a:alpha val="7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</a:t>
            </a:r>
          </a:p>
        </p:txBody>
      </p:sp>
      <p:sp>
        <p:nvSpPr>
          <p:cNvPr id="55" name="Oval 54"/>
          <p:cNvSpPr/>
          <p:nvPr/>
        </p:nvSpPr>
        <p:spPr>
          <a:xfrm>
            <a:off x="6462442" y="1955869"/>
            <a:ext cx="59485" cy="6283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/>
        </p:spPr>
        <p:txBody>
          <a:bodyPr rtlCol="0" anchor="ctr"/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srgbClr val="FC2D0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" name="Oval 55"/>
          <p:cNvSpPr/>
          <p:nvPr/>
        </p:nvSpPr>
        <p:spPr>
          <a:xfrm>
            <a:off x="6553339" y="1955869"/>
            <a:ext cx="59485" cy="6283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/>
        </p:spPr>
        <p:txBody>
          <a:bodyPr rtlCol="0" anchor="ctr"/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srgbClr val="FC2D0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Oval 56"/>
          <p:cNvSpPr/>
          <p:nvPr/>
        </p:nvSpPr>
        <p:spPr>
          <a:xfrm>
            <a:off x="4533410" y="1955869"/>
            <a:ext cx="59485" cy="6283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/>
        </p:spPr>
        <p:txBody>
          <a:bodyPr rtlCol="0" anchor="ctr"/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srgbClr val="FC2D0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0" name="Down Arrow 69"/>
          <p:cNvSpPr/>
          <p:nvPr/>
        </p:nvSpPr>
        <p:spPr>
          <a:xfrm>
            <a:off x="7379599" y="5896812"/>
            <a:ext cx="240970" cy="280394"/>
          </a:xfrm>
          <a:prstGeom prst="downArrow">
            <a:avLst/>
          </a:prstGeom>
          <a:solidFill>
            <a:srgbClr val="1F3B9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8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kern="0" dirty="0" smtClean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1" name="Down Arrow 70"/>
          <p:cNvSpPr/>
          <p:nvPr/>
        </p:nvSpPr>
        <p:spPr>
          <a:xfrm>
            <a:off x="7566959" y="2865273"/>
            <a:ext cx="397333" cy="208362"/>
          </a:xfrm>
          <a:prstGeom prst="downArrow">
            <a:avLst/>
          </a:prstGeom>
          <a:solidFill>
            <a:srgbClr val="FC2D07"/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0" kern="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72" name="Diagram 71"/>
          <p:cNvGraphicFramePr/>
          <p:nvPr>
            <p:extLst/>
          </p:nvPr>
        </p:nvGraphicFramePr>
        <p:xfrm>
          <a:off x="6167044" y="3105326"/>
          <a:ext cx="2572447" cy="2811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5806193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" name="Group 77"/>
          <p:cNvGrpSpPr/>
          <p:nvPr/>
        </p:nvGrpSpPr>
        <p:grpSpPr>
          <a:xfrm>
            <a:off x="399349" y="862140"/>
            <a:ext cx="9122604" cy="5075364"/>
            <a:chOff x="1295402" y="761671"/>
            <a:chExt cx="9659813" cy="5748569"/>
          </a:xfrm>
        </p:grpSpPr>
        <p:sp>
          <p:nvSpPr>
            <p:cNvPr id="79" name="Rectangle 78"/>
            <p:cNvSpPr/>
            <p:nvPr/>
          </p:nvSpPr>
          <p:spPr bwMode="auto">
            <a:xfrm>
              <a:off x="5032284" y="761671"/>
              <a:ext cx="3905106" cy="1009974"/>
            </a:xfrm>
            <a:prstGeom prst="rect">
              <a:avLst/>
            </a:prstGeom>
            <a:solidFill>
              <a:srgbClr val="809CAE">
                <a:lumMod val="60000"/>
                <a:lumOff val="40000"/>
              </a:srgb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 smtClean="0">
                <a:ln>
                  <a:noFill/>
                </a:ln>
                <a:solidFill>
                  <a:srgbClr val="809CAE"/>
                </a:solidFill>
                <a:effectLst/>
                <a:uLnTx/>
                <a:uFillTx/>
                <a:latin typeface="Arial" pitchFamily="34" charset="0"/>
                <a:cs typeface="+mn-cs"/>
              </a:endParaRPr>
            </a:p>
          </p:txBody>
        </p:sp>
        <p:sp>
          <p:nvSpPr>
            <p:cNvPr id="80" name="Rectangle 79"/>
            <p:cNvSpPr/>
            <p:nvPr/>
          </p:nvSpPr>
          <p:spPr bwMode="auto">
            <a:xfrm>
              <a:off x="7765870" y="2337588"/>
              <a:ext cx="1506595" cy="1407275"/>
            </a:xfrm>
            <a:prstGeom prst="rect">
              <a:avLst/>
            </a:prstGeom>
            <a:solidFill>
              <a:srgbClr val="809CAE">
                <a:lumMod val="60000"/>
                <a:lumOff val="40000"/>
              </a:srgb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 smtClean="0">
                <a:ln>
                  <a:noFill/>
                </a:ln>
                <a:solidFill>
                  <a:srgbClr val="809CAE"/>
                </a:solidFill>
                <a:effectLst/>
                <a:uLnTx/>
                <a:uFillTx/>
                <a:latin typeface="Arial" pitchFamily="34" charset="0"/>
                <a:cs typeface="+mn-cs"/>
              </a:endParaRPr>
            </a:p>
          </p:txBody>
        </p:sp>
        <p:sp>
          <p:nvSpPr>
            <p:cNvPr id="81" name="Rectangle 80"/>
            <p:cNvSpPr/>
            <p:nvPr/>
          </p:nvSpPr>
          <p:spPr bwMode="auto">
            <a:xfrm>
              <a:off x="4543179" y="2630655"/>
              <a:ext cx="2484806" cy="2814551"/>
            </a:xfrm>
            <a:prstGeom prst="rect">
              <a:avLst/>
            </a:prstGeom>
            <a:solidFill>
              <a:srgbClr val="809CAE">
                <a:lumMod val="60000"/>
                <a:lumOff val="40000"/>
              </a:srgb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 smtClean="0">
                <a:ln>
                  <a:noFill/>
                </a:ln>
                <a:solidFill>
                  <a:srgbClr val="809CAE"/>
                </a:solidFill>
                <a:effectLst/>
                <a:uLnTx/>
                <a:uFillTx/>
                <a:latin typeface="Arial" pitchFamily="34" charset="0"/>
                <a:cs typeface="+mn-cs"/>
              </a:endParaRPr>
            </a:p>
          </p:txBody>
        </p:sp>
        <p:sp>
          <p:nvSpPr>
            <p:cNvPr id="82" name="Rectangle 81"/>
            <p:cNvSpPr/>
            <p:nvPr/>
          </p:nvSpPr>
          <p:spPr bwMode="auto">
            <a:xfrm>
              <a:off x="9384323" y="2337588"/>
              <a:ext cx="1570892" cy="3282793"/>
            </a:xfrm>
            <a:prstGeom prst="rect">
              <a:avLst/>
            </a:prstGeom>
            <a:solidFill>
              <a:srgbClr val="809CAE">
                <a:lumMod val="60000"/>
                <a:lumOff val="40000"/>
              </a:srgb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 smtClean="0">
                <a:ln>
                  <a:noFill/>
                </a:ln>
                <a:solidFill>
                  <a:srgbClr val="809CAE"/>
                </a:solidFill>
                <a:effectLst/>
                <a:uLnTx/>
                <a:uFillTx/>
                <a:latin typeface="Arial" pitchFamily="34" charset="0"/>
                <a:cs typeface="+mn-cs"/>
              </a:endParaRPr>
            </a:p>
          </p:txBody>
        </p:sp>
        <p:sp>
          <p:nvSpPr>
            <p:cNvPr id="83" name="Rectangle 82"/>
            <p:cNvSpPr/>
            <p:nvPr/>
          </p:nvSpPr>
          <p:spPr bwMode="auto">
            <a:xfrm>
              <a:off x="1295402" y="3129899"/>
              <a:ext cx="1113693" cy="550984"/>
            </a:xfrm>
            <a:prstGeom prst="rect">
              <a:avLst/>
            </a:prstGeom>
            <a:solidFill>
              <a:srgbClr val="809CA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Jira</a:t>
              </a:r>
            </a:p>
          </p:txBody>
        </p:sp>
        <p:sp>
          <p:nvSpPr>
            <p:cNvPr id="84" name="Rectangle 83"/>
            <p:cNvSpPr/>
            <p:nvPr/>
          </p:nvSpPr>
          <p:spPr bwMode="auto">
            <a:xfrm>
              <a:off x="3264875" y="4618731"/>
              <a:ext cx="1113693" cy="550984"/>
            </a:xfrm>
            <a:prstGeom prst="rect">
              <a:avLst/>
            </a:prstGeom>
            <a:solidFill>
              <a:srgbClr val="809CA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Stash</a:t>
              </a:r>
            </a:p>
          </p:txBody>
        </p:sp>
        <p:sp>
          <p:nvSpPr>
            <p:cNvPr id="85" name="Rectangle 84"/>
            <p:cNvSpPr/>
            <p:nvPr/>
          </p:nvSpPr>
          <p:spPr bwMode="auto">
            <a:xfrm>
              <a:off x="5093676" y="3129899"/>
              <a:ext cx="1113693" cy="550984"/>
            </a:xfrm>
            <a:prstGeom prst="rect">
              <a:avLst/>
            </a:prstGeom>
            <a:solidFill>
              <a:srgbClr val="809CA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Jenkins</a:t>
              </a:r>
            </a:p>
          </p:txBody>
        </p:sp>
        <p:sp>
          <p:nvSpPr>
            <p:cNvPr id="86" name="Rectangle 85"/>
            <p:cNvSpPr/>
            <p:nvPr/>
          </p:nvSpPr>
          <p:spPr bwMode="auto">
            <a:xfrm>
              <a:off x="6406661" y="995295"/>
              <a:ext cx="1113693" cy="550984"/>
            </a:xfrm>
            <a:prstGeom prst="rect">
              <a:avLst/>
            </a:prstGeom>
            <a:solidFill>
              <a:srgbClr val="809CA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DB Releas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Management</a:t>
              </a:r>
            </a:p>
          </p:txBody>
        </p:sp>
        <p:sp>
          <p:nvSpPr>
            <p:cNvPr id="87" name="Rectangle 86"/>
            <p:cNvSpPr/>
            <p:nvPr/>
          </p:nvSpPr>
          <p:spPr bwMode="auto">
            <a:xfrm>
              <a:off x="3276598" y="3129899"/>
              <a:ext cx="1113693" cy="550984"/>
            </a:xfrm>
            <a:prstGeom prst="rect">
              <a:avLst/>
            </a:prstGeom>
            <a:solidFill>
              <a:srgbClr val="809CA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GIT</a:t>
              </a:r>
            </a:p>
          </p:txBody>
        </p:sp>
        <p:sp>
          <p:nvSpPr>
            <p:cNvPr id="88" name="Rectangle 87"/>
            <p:cNvSpPr/>
            <p:nvPr/>
          </p:nvSpPr>
          <p:spPr bwMode="auto">
            <a:xfrm>
              <a:off x="4647684" y="4618731"/>
              <a:ext cx="1113693" cy="550984"/>
            </a:xfrm>
            <a:prstGeom prst="rect">
              <a:avLst/>
            </a:prstGeom>
            <a:solidFill>
              <a:srgbClr val="809CA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SonarQube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+mn-cs"/>
              </a:endParaRPr>
            </a:p>
          </p:txBody>
        </p:sp>
        <p:sp>
          <p:nvSpPr>
            <p:cNvPr id="89" name="Rectangle 88"/>
            <p:cNvSpPr/>
            <p:nvPr/>
          </p:nvSpPr>
          <p:spPr bwMode="auto">
            <a:xfrm>
              <a:off x="7966746" y="2463178"/>
              <a:ext cx="1113693" cy="550984"/>
            </a:xfrm>
            <a:prstGeom prst="rect">
              <a:avLst/>
            </a:prstGeom>
            <a:solidFill>
              <a:srgbClr val="809CA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Chef</a:t>
              </a:r>
            </a:p>
          </p:txBody>
        </p:sp>
        <p:sp>
          <p:nvSpPr>
            <p:cNvPr id="90" name="Rectangle 89"/>
            <p:cNvSpPr/>
            <p:nvPr/>
          </p:nvSpPr>
          <p:spPr bwMode="auto">
            <a:xfrm>
              <a:off x="9624639" y="3744863"/>
              <a:ext cx="1113693" cy="550984"/>
            </a:xfrm>
            <a:prstGeom prst="rect">
              <a:avLst/>
            </a:prstGeom>
            <a:solidFill>
              <a:srgbClr val="809CA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Config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+mn-cs"/>
              </a:endParaRPr>
            </a:p>
          </p:txBody>
        </p:sp>
        <p:sp>
          <p:nvSpPr>
            <p:cNvPr id="91" name="Rectangle 90"/>
            <p:cNvSpPr/>
            <p:nvPr/>
          </p:nvSpPr>
          <p:spPr bwMode="auto">
            <a:xfrm>
              <a:off x="9624638" y="4351533"/>
              <a:ext cx="1113693" cy="550984"/>
            </a:xfrm>
            <a:prstGeom prst="rect">
              <a:avLst/>
            </a:prstGeom>
            <a:solidFill>
              <a:srgbClr val="809CA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MW</a:t>
              </a:r>
            </a:p>
          </p:txBody>
        </p:sp>
        <p:sp>
          <p:nvSpPr>
            <p:cNvPr id="92" name="Rectangle 91"/>
            <p:cNvSpPr/>
            <p:nvPr/>
          </p:nvSpPr>
          <p:spPr bwMode="auto">
            <a:xfrm>
              <a:off x="9612908" y="5933389"/>
              <a:ext cx="1113693" cy="550984"/>
            </a:xfrm>
            <a:prstGeom prst="rect">
              <a:avLst/>
            </a:prstGeom>
            <a:solidFill>
              <a:srgbClr val="809CA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Splunk / ELK</a:t>
              </a:r>
            </a:p>
          </p:txBody>
        </p:sp>
        <p:sp>
          <p:nvSpPr>
            <p:cNvPr id="93" name="TextBox 92"/>
            <p:cNvSpPr txBox="1"/>
            <p:nvPr/>
          </p:nvSpPr>
          <p:spPr bwMode="auto">
            <a:xfrm>
              <a:off x="2596657" y="3507026"/>
              <a:ext cx="867503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82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Commit Code</a:t>
              </a:r>
            </a:p>
          </p:txBody>
        </p:sp>
        <p:cxnSp>
          <p:nvCxnSpPr>
            <p:cNvPr id="94" name="Elbow Connector 93"/>
            <p:cNvCxnSpPr>
              <a:stCxn id="87" idx="0"/>
              <a:endCxn id="85" idx="0"/>
            </p:cNvCxnSpPr>
            <p:nvPr/>
          </p:nvCxnSpPr>
          <p:spPr bwMode="auto">
            <a:xfrm rot="5400000" flipH="1" flipV="1">
              <a:off x="4741983" y="2221360"/>
              <a:ext cx="12700" cy="1817078"/>
            </a:xfrm>
            <a:prstGeom prst="bentConnector3">
              <a:avLst>
                <a:gd name="adj1" fmla="val 1800000"/>
              </a:avLst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  <p:sp>
          <p:nvSpPr>
            <p:cNvPr id="95" name="TextBox 94"/>
            <p:cNvSpPr txBox="1"/>
            <p:nvPr/>
          </p:nvSpPr>
          <p:spPr bwMode="auto">
            <a:xfrm>
              <a:off x="3789722" y="2710552"/>
              <a:ext cx="867503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82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Trigger Build</a:t>
              </a:r>
            </a:p>
          </p:txBody>
        </p:sp>
        <p:sp>
          <p:nvSpPr>
            <p:cNvPr id="96" name="TextBox 95"/>
            <p:cNvSpPr txBox="1"/>
            <p:nvPr/>
          </p:nvSpPr>
          <p:spPr bwMode="auto">
            <a:xfrm>
              <a:off x="4402015" y="3235406"/>
              <a:ext cx="867503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82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Pull Code</a:t>
              </a:r>
            </a:p>
          </p:txBody>
        </p:sp>
        <p:cxnSp>
          <p:nvCxnSpPr>
            <p:cNvPr id="97" name="Straight Arrow Connector 96"/>
            <p:cNvCxnSpPr>
              <a:stCxn id="87" idx="3"/>
              <a:endCxn id="85" idx="1"/>
            </p:cNvCxnSpPr>
            <p:nvPr/>
          </p:nvCxnSpPr>
          <p:spPr bwMode="auto">
            <a:xfrm>
              <a:off x="4390291" y="3405391"/>
              <a:ext cx="703385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  <p:cxnSp>
          <p:nvCxnSpPr>
            <p:cNvPr id="98" name="Straight Arrow Connector 97"/>
            <p:cNvCxnSpPr>
              <a:stCxn id="87" idx="2"/>
              <a:endCxn id="84" idx="0"/>
            </p:cNvCxnSpPr>
            <p:nvPr/>
          </p:nvCxnSpPr>
          <p:spPr bwMode="auto">
            <a:xfrm flipH="1">
              <a:off x="3821722" y="3680883"/>
              <a:ext cx="11723" cy="937848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  <p:sp>
          <p:nvSpPr>
            <p:cNvPr id="99" name="TextBox 98"/>
            <p:cNvSpPr txBox="1"/>
            <p:nvPr/>
          </p:nvSpPr>
          <p:spPr bwMode="auto">
            <a:xfrm>
              <a:off x="3018685" y="3843521"/>
              <a:ext cx="867503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82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Code Review </a:t>
              </a:r>
            </a:p>
          </p:txBody>
        </p:sp>
        <p:sp>
          <p:nvSpPr>
            <p:cNvPr id="100" name="TextBox 99"/>
            <p:cNvSpPr txBox="1"/>
            <p:nvPr/>
          </p:nvSpPr>
          <p:spPr bwMode="auto">
            <a:xfrm>
              <a:off x="3030409" y="4101429"/>
              <a:ext cx="867503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82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SCM Traceability</a:t>
              </a:r>
            </a:p>
          </p:txBody>
        </p:sp>
        <p:cxnSp>
          <p:nvCxnSpPr>
            <p:cNvPr id="101" name="Elbow Connector 100"/>
            <p:cNvCxnSpPr>
              <a:stCxn id="84" idx="1"/>
              <a:endCxn id="83" idx="2"/>
            </p:cNvCxnSpPr>
            <p:nvPr/>
          </p:nvCxnSpPr>
          <p:spPr bwMode="auto">
            <a:xfrm rot="10800000">
              <a:off x="1852248" y="3680883"/>
              <a:ext cx="1412626" cy="1213340"/>
            </a:xfrm>
            <a:prstGeom prst="bentConnector2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  <p:sp>
          <p:nvSpPr>
            <p:cNvPr id="102" name="TextBox 101"/>
            <p:cNvSpPr txBox="1"/>
            <p:nvPr/>
          </p:nvSpPr>
          <p:spPr bwMode="auto">
            <a:xfrm>
              <a:off x="1834667" y="4552768"/>
              <a:ext cx="867503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82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Requirement Traceability</a:t>
              </a:r>
            </a:p>
          </p:txBody>
        </p:sp>
        <p:sp>
          <p:nvSpPr>
            <p:cNvPr id="103" name="Rectangle 102"/>
            <p:cNvSpPr/>
            <p:nvPr/>
          </p:nvSpPr>
          <p:spPr bwMode="auto">
            <a:xfrm>
              <a:off x="9624637" y="4958203"/>
              <a:ext cx="1113693" cy="550984"/>
            </a:xfrm>
            <a:prstGeom prst="rect">
              <a:avLst/>
            </a:prstGeom>
            <a:solidFill>
              <a:srgbClr val="809CA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OS</a:t>
              </a:r>
            </a:p>
          </p:txBody>
        </p:sp>
        <p:sp>
          <p:nvSpPr>
            <p:cNvPr id="104" name="TextBox 103"/>
            <p:cNvSpPr txBox="1"/>
            <p:nvPr/>
          </p:nvSpPr>
          <p:spPr bwMode="auto">
            <a:xfrm>
              <a:off x="9589467" y="2552535"/>
              <a:ext cx="1160584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82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Environments</a:t>
              </a:r>
            </a:p>
          </p:txBody>
        </p:sp>
        <p:sp>
          <p:nvSpPr>
            <p:cNvPr id="105" name="TextBox 104"/>
            <p:cNvSpPr txBox="1"/>
            <p:nvPr/>
          </p:nvSpPr>
          <p:spPr bwMode="auto">
            <a:xfrm>
              <a:off x="8499216" y="3322922"/>
              <a:ext cx="867503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82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Provisioning</a:t>
              </a:r>
            </a:p>
          </p:txBody>
        </p:sp>
        <p:sp>
          <p:nvSpPr>
            <p:cNvPr id="106" name="TextBox 105"/>
            <p:cNvSpPr txBox="1"/>
            <p:nvPr/>
          </p:nvSpPr>
          <p:spPr bwMode="auto">
            <a:xfrm>
              <a:off x="8487492" y="4261179"/>
              <a:ext cx="867503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82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Deployment</a:t>
              </a:r>
            </a:p>
          </p:txBody>
        </p:sp>
        <p:cxnSp>
          <p:nvCxnSpPr>
            <p:cNvPr id="107" name="Straight Arrow Connector 106"/>
            <p:cNvCxnSpPr/>
            <p:nvPr/>
          </p:nvCxnSpPr>
          <p:spPr bwMode="auto">
            <a:xfrm flipV="1">
              <a:off x="6008077" y="1600037"/>
              <a:ext cx="926120" cy="1529862"/>
            </a:xfrm>
            <a:prstGeom prst="straightConnector1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108" name="TextBox 107"/>
            <p:cNvSpPr txBox="1"/>
            <p:nvPr/>
          </p:nvSpPr>
          <p:spPr bwMode="auto">
            <a:xfrm>
              <a:off x="4996508" y="1916771"/>
              <a:ext cx="867503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82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Update Build</a:t>
              </a:r>
            </a:p>
          </p:txBody>
        </p:sp>
        <p:sp>
          <p:nvSpPr>
            <p:cNvPr id="109" name="TextBox 108"/>
            <p:cNvSpPr txBox="1"/>
            <p:nvPr/>
          </p:nvSpPr>
          <p:spPr bwMode="auto">
            <a:xfrm>
              <a:off x="4996509" y="2190422"/>
              <a:ext cx="867503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82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Code to Build Traceability</a:t>
              </a:r>
            </a:p>
          </p:txBody>
        </p:sp>
        <p:sp>
          <p:nvSpPr>
            <p:cNvPr id="110" name="TextBox 109"/>
            <p:cNvSpPr txBox="1"/>
            <p:nvPr/>
          </p:nvSpPr>
          <p:spPr bwMode="auto">
            <a:xfrm>
              <a:off x="7485349" y="1893114"/>
              <a:ext cx="867503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82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Pull Packages</a:t>
              </a:r>
            </a:p>
          </p:txBody>
        </p:sp>
        <p:sp>
          <p:nvSpPr>
            <p:cNvPr id="111" name="TextBox 110"/>
            <p:cNvSpPr txBox="1"/>
            <p:nvPr/>
          </p:nvSpPr>
          <p:spPr bwMode="auto">
            <a:xfrm>
              <a:off x="4530102" y="4202250"/>
              <a:ext cx="867503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82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Static Code Analysis</a:t>
              </a:r>
            </a:p>
          </p:txBody>
        </p:sp>
        <p:cxnSp>
          <p:nvCxnSpPr>
            <p:cNvPr id="112" name="Elbow Connector 111"/>
            <p:cNvCxnSpPr/>
            <p:nvPr/>
          </p:nvCxnSpPr>
          <p:spPr bwMode="auto">
            <a:xfrm>
              <a:off x="8647429" y="5061010"/>
              <a:ext cx="914400" cy="914400"/>
            </a:xfrm>
            <a:prstGeom prst="bentConnector3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113" name="TextBox 112"/>
            <p:cNvSpPr txBox="1"/>
            <p:nvPr/>
          </p:nvSpPr>
          <p:spPr bwMode="auto">
            <a:xfrm>
              <a:off x="1459524" y="5592567"/>
              <a:ext cx="1242646" cy="16531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82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Jira Integration</a:t>
              </a:r>
            </a:p>
          </p:txBody>
        </p:sp>
        <p:sp>
          <p:nvSpPr>
            <p:cNvPr id="114" name="Rectangle 113"/>
            <p:cNvSpPr/>
            <p:nvPr/>
          </p:nvSpPr>
          <p:spPr bwMode="auto">
            <a:xfrm>
              <a:off x="9618782" y="1342130"/>
              <a:ext cx="1113693" cy="550984"/>
            </a:xfrm>
            <a:prstGeom prst="rect">
              <a:avLst/>
            </a:prstGeom>
            <a:solidFill>
              <a:srgbClr val="809CA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Self Service Enablement</a:t>
              </a:r>
            </a:p>
          </p:txBody>
        </p:sp>
        <p:cxnSp>
          <p:nvCxnSpPr>
            <p:cNvPr id="115" name="Straight Arrow Connector 114"/>
            <p:cNvCxnSpPr>
              <a:stCxn id="114" idx="2"/>
              <a:endCxn id="82" idx="0"/>
            </p:cNvCxnSpPr>
            <p:nvPr/>
          </p:nvCxnSpPr>
          <p:spPr bwMode="auto">
            <a:xfrm flipH="1">
              <a:off x="10169770" y="1893115"/>
              <a:ext cx="5859" cy="444473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  <p:cxnSp>
          <p:nvCxnSpPr>
            <p:cNvPr id="116" name="Straight Arrow Connector 115"/>
            <p:cNvCxnSpPr>
              <a:stCxn id="82" idx="2"/>
              <a:endCxn id="92" idx="0"/>
            </p:cNvCxnSpPr>
            <p:nvPr/>
          </p:nvCxnSpPr>
          <p:spPr bwMode="auto">
            <a:xfrm flipH="1">
              <a:off x="10169755" y="5620381"/>
              <a:ext cx="15" cy="313009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  <p:cxnSp>
          <p:nvCxnSpPr>
            <p:cNvPr id="117" name="Straight Arrow Connector 116"/>
            <p:cNvCxnSpPr/>
            <p:nvPr/>
          </p:nvCxnSpPr>
          <p:spPr bwMode="auto">
            <a:xfrm flipV="1">
              <a:off x="1436077" y="3680884"/>
              <a:ext cx="0" cy="2227385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  <p:cxnSp>
          <p:nvCxnSpPr>
            <p:cNvPr id="118" name="Straight Connector 117"/>
            <p:cNvCxnSpPr/>
            <p:nvPr/>
          </p:nvCxnSpPr>
          <p:spPr bwMode="auto">
            <a:xfrm>
              <a:off x="1436077" y="5908267"/>
              <a:ext cx="6518028" cy="0"/>
            </a:xfrm>
            <a:prstGeom prst="line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119" name="Straight Connector 118"/>
            <p:cNvCxnSpPr/>
            <p:nvPr/>
          </p:nvCxnSpPr>
          <p:spPr bwMode="auto">
            <a:xfrm flipV="1">
              <a:off x="7954106" y="5061010"/>
              <a:ext cx="12641" cy="847258"/>
            </a:xfrm>
            <a:prstGeom prst="line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120" name="Rectangle 119"/>
            <p:cNvSpPr/>
            <p:nvPr/>
          </p:nvSpPr>
          <p:spPr bwMode="auto">
            <a:xfrm>
              <a:off x="7630528" y="995296"/>
              <a:ext cx="1113693" cy="550984"/>
            </a:xfrm>
            <a:prstGeom prst="rect">
              <a:avLst/>
            </a:prstGeom>
            <a:solidFill>
              <a:srgbClr val="809CA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Yum</a:t>
              </a:r>
            </a:p>
          </p:txBody>
        </p:sp>
        <p:sp>
          <p:nvSpPr>
            <p:cNvPr id="121" name="Rectangle 120"/>
            <p:cNvSpPr/>
            <p:nvPr/>
          </p:nvSpPr>
          <p:spPr bwMode="auto">
            <a:xfrm>
              <a:off x="5179583" y="995296"/>
              <a:ext cx="1113693" cy="550984"/>
            </a:xfrm>
            <a:prstGeom prst="rect">
              <a:avLst/>
            </a:prstGeom>
            <a:solidFill>
              <a:srgbClr val="809CA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Nexus Pro</a:t>
              </a:r>
            </a:p>
          </p:txBody>
        </p:sp>
        <p:sp>
          <p:nvSpPr>
            <p:cNvPr id="122" name="Rectangle 121"/>
            <p:cNvSpPr/>
            <p:nvPr/>
          </p:nvSpPr>
          <p:spPr bwMode="auto">
            <a:xfrm>
              <a:off x="8121733" y="5959256"/>
              <a:ext cx="1113693" cy="550984"/>
            </a:xfrm>
            <a:prstGeom prst="rect">
              <a:avLst/>
            </a:prstGeom>
            <a:solidFill>
              <a:srgbClr val="809CA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SNOW</a:t>
              </a:r>
            </a:p>
          </p:txBody>
        </p:sp>
        <p:sp>
          <p:nvSpPr>
            <p:cNvPr id="123" name="TextBox 122"/>
            <p:cNvSpPr txBox="1"/>
            <p:nvPr/>
          </p:nvSpPr>
          <p:spPr bwMode="auto">
            <a:xfrm>
              <a:off x="8244827" y="5466493"/>
              <a:ext cx="867503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82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Auto-ticketing</a:t>
              </a:r>
            </a:p>
          </p:txBody>
        </p:sp>
        <p:sp>
          <p:nvSpPr>
            <p:cNvPr id="124" name="TextBox 123"/>
            <p:cNvSpPr txBox="1"/>
            <p:nvPr/>
          </p:nvSpPr>
          <p:spPr bwMode="auto">
            <a:xfrm>
              <a:off x="1455168" y="5755195"/>
              <a:ext cx="867503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82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Audit Trail</a:t>
              </a:r>
            </a:p>
          </p:txBody>
        </p:sp>
        <p:cxnSp>
          <p:nvCxnSpPr>
            <p:cNvPr id="125" name="Elbow Connector 124"/>
            <p:cNvCxnSpPr>
              <a:stCxn id="89" idx="2"/>
            </p:cNvCxnSpPr>
            <p:nvPr/>
          </p:nvCxnSpPr>
          <p:spPr bwMode="auto">
            <a:xfrm rot="16200000" flipH="1">
              <a:off x="8705589" y="2832165"/>
              <a:ext cx="496738" cy="860733"/>
            </a:xfrm>
            <a:prstGeom prst="bentConnector2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  <p:sp>
          <p:nvSpPr>
            <p:cNvPr id="126" name="Rectangle 125"/>
            <p:cNvSpPr/>
            <p:nvPr/>
          </p:nvSpPr>
          <p:spPr bwMode="auto">
            <a:xfrm>
              <a:off x="5815641" y="4616307"/>
              <a:ext cx="1113693" cy="550984"/>
            </a:xfrm>
            <a:prstGeom prst="rect">
              <a:avLst/>
            </a:prstGeom>
            <a:solidFill>
              <a:srgbClr val="809CA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Test Frameworks</a:t>
              </a:r>
            </a:p>
          </p:txBody>
        </p:sp>
        <p:sp>
          <p:nvSpPr>
            <p:cNvPr id="127" name="Rectangle 126"/>
            <p:cNvSpPr/>
            <p:nvPr/>
          </p:nvSpPr>
          <p:spPr bwMode="auto">
            <a:xfrm>
              <a:off x="9612907" y="3136250"/>
              <a:ext cx="1113693" cy="550984"/>
            </a:xfrm>
            <a:prstGeom prst="rect">
              <a:avLst/>
            </a:prstGeom>
            <a:solidFill>
              <a:srgbClr val="809CA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App</a:t>
              </a:r>
            </a:p>
          </p:txBody>
        </p:sp>
        <p:sp>
          <p:nvSpPr>
            <p:cNvPr id="128" name="TextBox 127"/>
            <p:cNvSpPr txBox="1"/>
            <p:nvPr/>
          </p:nvSpPr>
          <p:spPr bwMode="auto">
            <a:xfrm>
              <a:off x="9230402" y="5651480"/>
              <a:ext cx="867503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82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Log Management</a:t>
              </a:r>
            </a:p>
          </p:txBody>
        </p:sp>
        <p:cxnSp>
          <p:nvCxnSpPr>
            <p:cNvPr id="129" name="Straight Arrow Connector 128"/>
            <p:cNvCxnSpPr/>
            <p:nvPr/>
          </p:nvCxnSpPr>
          <p:spPr bwMode="auto">
            <a:xfrm>
              <a:off x="5204531" y="4041778"/>
              <a:ext cx="914400" cy="914400"/>
            </a:xfrm>
            <a:prstGeom prst="straightConnector1">
              <a:avLst/>
            </a:prstGeom>
            <a:noFill/>
            <a:ln w="9525" cap="flat" cmpd="sng" algn="ctr">
              <a:noFill/>
              <a:prstDash val="solid"/>
              <a:round/>
              <a:headEnd type="arrow"/>
              <a:tailEnd type="arrow"/>
            </a:ln>
            <a:effectLst/>
          </p:spPr>
        </p:cxnSp>
        <p:cxnSp>
          <p:nvCxnSpPr>
            <p:cNvPr id="130" name="Straight Arrow Connector 129"/>
            <p:cNvCxnSpPr/>
            <p:nvPr/>
          </p:nvCxnSpPr>
          <p:spPr bwMode="auto">
            <a:xfrm>
              <a:off x="5397604" y="3680883"/>
              <a:ext cx="0" cy="950746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arrow"/>
              <a:tailEnd type="arrow"/>
            </a:ln>
            <a:effectLst/>
          </p:spPr>
        </p:cxnSp>
        <p:cxnSp>
          <p:nvCxnSpPr>
            <p:cNvPr id="131" name="Straight Arrow Connector 130"/>
            <p:cNvCxnSpPr/>
            <p:nvPr/>
          </p:nvCxnSpPr>
          <p:spPr bwMode="auto">
            <a:xfrm>
              <a:off x="6008077" y="3676613"/>
              <a:ext cx="0" cy="950746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arrow"/>
              <a:tailEnd type="arrow"/>
            </a:ln>
            <a:effectLst/>
          </p:spPr>
        </p:cxnSp>
        <p:cxnSp>
          <p:nvCxnSpPr>
            <p:cNvPr id="132" name="Straight Arrow Connector 131"/>
            <p:cNvCxnSpPr>
              <a:endCxn id="108" idx="3"/>
            </p:cNvCxnSpPr>
            <p:nvPr/>
          </p:nvCxnSpPr>
          <p:spPr bwMode="auto">
            <a:xfrm flipH="1" flipV="1">
              <a:off x="5864010" y="1993715"/>
              <a:ext cx="46900" cy="1324964"/>
            </a:xfrm>
            <a:prstGeom prst="straightConnector1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33" name="Straight Arrow Connector 132"/>
            <p:cNvCxnSpPr/>
            <p:nvPr/>
          </p:nvCxnSpPr>
          <p:spPr bwMode="auto">
            <a:xfrm flipV="1">
              <a:off x="5872593" y="1546280"/>
              <a:ext cx="11211" cy="1589970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  <p:cxnSp>
          <p:nvCxnSpPr>
            <p:cNvPr id="134" name="Straight Arrow Connector 133"/>
            <p:cNvCxnSpPr/>
            <p:nvPr/>
          </p:nvCxnSpPr>
          <p:spPr bwMode="auto">
            <a:xfrm flipV="1">
              <a:off x="6938542" y="1597900"/>
              <a:ext cx="926120" cy="1529862"/>
            </a:xfrm>
            <a:prstGeom prst="straightConnector1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135" name="Rectangle 134"/>
            <p:cNvSpPr/>
            <p:nvPr/>
          </p:nvSpPr>
          <p:spPr bwMode="auto">
            <a:xfrm>
              <a:off x="7770294" y="3927992"/>
              <a:ext cx="1506595" cy="1407275"/>
            </a:xfrm>
            <a:prstGeom prst="rect">
              <a:avLst/>
            </a:prstGeom>
            <a:solidFill>
              <a:srgbClr val="809CAE">
                <a:lumMod val="60000"/>
                <a:lumOff val="40000"/>
              </a:srgb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 smtClean="0">
                <a:ln>
                  <a:noFill/>
                </a:ln>
                <a:solidFill>
                  <a:srgbClr val="809CAE"/>
                </a:solidFill>
                <a:effectLst/>
                <a:uLnTx/>
                <a:uFillTx/>
                <a:latin typeface="Arial" pitchFamily="34" charset="0"/>
                <a:cs typeface="+mn-cs"/>
              </a:endParaRPr>
            </a:p>
          </p:txBody>
        </p:sp>
        <p:sp>
          <p:nvSpPr>
            <p:cNvPr id="136" name="Rectangle 135"/>
            <p:cNvSpPr/>
            <p:nvPr/>
          </p:nvSpPr>
          <p:spPr bwMode="auto">
            <a:xfrm>
              <a:off x="7971170" y="4053582"/>
              <a:ext cx="1113693" cy="550984"/>
            </a:xfrm>
            <a:prstGeom prst="rect">
              <a:avLst/>
            </a:prstGeom>
            <a:solidFill>
              <a:srgbClr val="809CA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Nolio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+mn-cs"/>
              </a:endParaRPr>
            </a:p>
          </p:txBody>
        </p:sp>
        <p:sp>
          <p:nvSpPr>
            <p:cNvPr id="137" name="TextBox 136"/>
            <p:cNvSpPr txBox="1"/>
            <p:nvPr/>
          </p:nvSpPr>
          <p:spPr bwMode="auto">
            <a:xfrm>
              <a:off x="8503640" y="4913326"/>
              <a:ext cx="867503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82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Deployment</a:t>
              </a:r>
            </a:p>
          </p:txBody>
        </p:sp>
        <p:cxnSp>
          <p:nvCxnSpPr>
            <p:cNvPr id="138" name="Elbow Connector 137"/>
            <p:cNvCxnSpPr/>
            <p:nvPr/>
          </p:nvCxnSpPr>
          <p:spPr bwMode="auto">
            <a:xfrm rot="16200000" flipH="1">
              <a:off x="8710013" y="4421566"/>
              <a:ext cx="496738" cy="860733"/>
            </a:xfrm>
            <a:prstGeom prst="bentConnector2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  <p:cxnSp>
          <p:nvCxnSpPr>
            <p:cNvPr id="139" name="Elbow Connector 138"/>
            <p:cNvCxnSpPr/>
            <p:nvPr/>
          </p:nvCxnSpPr>
          <p:spPr bwMode="auto">
            <a:xfrm>
              <a:off x="6182407" y="3558514"/>
              <a:ext cx="1763801" cy="923683"/>
            </a:xfrm>
            <a:prstGeom prst="bentConnector3">
              <a:avLst>
                <a:gd name="adj1" fmla="val 62590"/>
              </a:avLst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  <p:cxnSp>
          <p:nvCxnSpPr>
            <p:cNvPr id="140" name="Elbow Connector 139"/>
            <p:cNvCxnSpPr/>
            <p:nvPr/>
          </p:nvCxnSpPr>
          <p:spPr bwMode="auto">
            <a:xfrm rot="5400000" flipH="1" flipV="1">
              <a:off x="5582042" y="2023941"/>
              <a:ext cx="1525647" cy="673570"/>
            </a:xfrm>
            <a:prstGeom prst="bentConnector3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  <p:cxnSp>
          <p:nvCxnSpPr>
            <p:cNvPr id="141" name="Elbow Connector 140"/>
            <p:cNvCxnSpPr>
              <a:endCxn id="136" idx="1"/>
            </p:cNvCxnSpPr>
            <p:nvPr/>
          </p:nvCxnSpPr>
          <p:spPr bwMode="auto">
            <a:xfrm rot="16200000" flipH="1">
              <a:off x="6462480" y="2820383"/>
              <a:ext cx="2566565" cy="450816"/>
            </a:xfrm>
            <a:prstGeom prst="bentConnector2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  <p:pic>
          <p:nvPicPr>
            <p:cNvPr id="142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58561" y="2276323"/>
              <a:ext cx="511912" cy="383934"/>
            </a:xfrm>
            <a:prstGeom prst="rect">
              <a:avLst/>
            </a:prstGeom>
            <a:solidFill>
              <a:srgbClr val="FBDB81"/>
            </a:solidFill>
            <a:ln>
              <a:noFill/>
            </a:ln>
          </p:spPr>
        </p:pic>
        <p:cxnSp>
          <p:nvCxnSpPr>
            <p:cNvPr id="143" name="Elbow Connector 142"/>
            <p:cNvCxnSpPr>
              <a:stCxn id="142" idx="2"/>
              <a:endCxn id="87" idx="1"/>
            </p:cNvCxnSpPr>
            <p:nvPr/>
          </p:nvCxnSpPr>
          <p:spPr bwMode="auto">
            <a:xfrm rot="16200000" flipH="1">
              <a:off x="2672990" y="2801784"/>
              <a:ext cx="745134" cy="462080"/>
            </a:xfrm>
            <a:prstGeom prst="bentConnector2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  <p:cxnSp>
          <p:nvCxnSpPr>
            <p:cNvPr id="144" name="Elbow Connector 143"/>
            <p:cNvCxnSpPr>
              <a:stCxn id="142" idx="1"/>
              <a:endCxn id="83" idx="0"/>
            </p:cNvCxnSpPr>
            <p:nvPr/>
          </p:nvCxnSpPr>
          <p:spPr bwMode="auto">
            <a:xfrm rot="10800000" flipV="1">
              <a:off x="1852250" y="2468290"/>
              <a:ext cx="706313" cy="661609"/>
            </a:xfrm>
            <a:prstGeom prst="bentConnector2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  <p:sp>
          <p:nvSpPr>
            <p:cNvPr id="145" name="TextBox 144"/>
            <p:cNvSpPr txBox="1"/>
            <p:nvPr/>
          </p:nvSpPr>
          <p:spPr bwMode="auto">
            <a:xfrm>
              <a:off x="1603376" y="1943540"/>
              <a:ext cx="867503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82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Requirements</a:t>
              </a:r>
            </a:p>
          </p:txBody>
        </p:sp>
        <p:sp>
          <p:nvSpPr>
            <p:cNvPr id="146" name="TextBox 145"/>
            <p:cNvSpPr txBox="1"/>
            <p:nvPr/>
          </p:nvSpPr>
          <p:spPr bwMode="auto">
            <a:xfrm>
              <a:off x="1601228" y="2134577"/>
              <a:ext cx="867503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82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User Stories</a:t>
              </a:r>
            </a:p>
          </p:txBody>
        </p:sp>
        <p:cxnSp>
          <p:nvCxnSpPr>
            <p:cNvPr id="147" name="Elbow Connector 146"/>
            <p:cNvCxnSpPr>
              <a:stCxn id="85" idx="3"/>
            </p:cNvCxnSpPr>
            <p:nvPr/>
          </p:nvCxnSpPr>
          <p:spPr bwMode="auto">
            <a:xfrm>
              <a:off x="6182406" y="3389294"/>
              <a:ext cx="914400" cy="914400"/>
            </a:xfrm>
            <a:prstGeom prst="bentConnector3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48" name="Elbow Connector 147"/>
            <p:cNvCxnSpPr/>
            <p:nvPr/>
          </p:nvCxnSpPr>
          <p:spPr bwMode="auto">
            <a:xfrm flipV="1">
              <a:off x="6182407" y="2738670"/>
              <a:ext cx="1763801" cy="496736"/>
            </a:xfrm>
            <a:prstGeom prst="bentConnector3">
              <a:avLst>
                <a:gd name="adj1" fmla="val 59492"/>
              </a:avLst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  <p:cxnSp>
          <p:nvCxnSpPr>
            <p:cNvPr id="149" name="Straight Arrow Connector 148"/>
            <p:cNvCxnSpPr/>
            <p:nvPr/>
          </p:nvCxnSpPr>
          <p:spPr bwMode="auto">
            <a:xfrm flipV="1">
              <a:off x="8244826" y="3014162"/>
              <a:ext cx="0" cy="1006193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  <p:sp>
          <p:nvSpPr>
            <p:cNvPr id="150" name="TextBox 149"/>
            <p:cNvSpPr txBox="1"/>
            <p:nvPr/>
          </p:nvSpPr>
          <p:spPr bwMode="auto">
            <a:xfrm>
              <a:off x="6290300" y="3079861"/>
              <a:ext cx="867503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82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Build Farms</a:t>
              </a:r>
            </a:p>
          </p:txBody>
        </p:sp>
        <p:sp>
          <p:nvSpPr>
            <p:cNvPr id="151" name="TextBox 150"/>
            <p:cNvSpPr txBox="1"/>
            <p:nvPr/>
          </p:nvSpPr>
          <p:spPr bwMode="auto">
            <a:xfrm>
              <a:off x="7464341" y="3469409"/>
              <a:ext cx="1065818" cy="33063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8255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cs typeface="+mn-cs"/>
                </a:rPr>
                <a:t>Deployment Targets</a:t>
              </a:r>
            </a:p>
          </p:txBody>
        </p:sp>
        <p:cxnSp>
          <p:nvCxnSpPr>
            <p:cNvPr id="152" name="Straight Arrow Connector 151"/>
            <p:cNvCxnSpPr/>
            <p:nvPr/>
          </p:nvCxnSpPr>
          <p:spPr bwMode="auto">
            <a:xfrm>
              <a:off x="8264413" y="4616307"/>
              <a:ext cx="1" cy="1327466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  <a:headEnd type="none" w="med" len="med"/>
              <a:tailEnd type="arrow"/>
            </a:ln>
            <a:effectLst/>
          </p:spPr>
        </p:cxnSp>
      </p:grpSp>
      <p:sp>
        <p:nvSpPr>
          <p:cNvPr id="153" name="Rectangle 2"/>
          <p:cNvSpPr>
            <a:spLocks noChangeArrowheads="1"/>
          </p:cNvSpPr>
          <p:nvPr/>
        </p:nvSpPr>
        <p:spPr bwMode="auto">
          <a:xfrm>
            <a:off x="2650156" y="188915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GB" sz="2400" b="0" dirty="0" smtClean="0">
                <a:solidFill>
                  <a:schemeClr val="tx2"/>
                </a:solidFill>
              </a:rPr>
              <a:t>Technical Solution Architecture</a:t>
            </a:r>
            <a:endParaRPr lang="en-US" sz="2400" b="0" dirty="0">
              <a:solidFill>
                <a:schemeClr val="tx2"/>
              </a:solidFill>
            </a:endParaRPr>
          </a:p>
        </p:txBody>
      </p:sp>
      <p:sp>
        <p:nvSpPr>
          <p:cNvPr id="154" name="Rectangle 153"/>
          <p:cNvSpPr/>
          <p:nvPr/>
        </p:nvSpPr>
        <p:spPr bwMode="auto">
          <a:xfrm>
            <a:off x="409170" y="6037058"/>
            <a:ext cx="9125312" cy="57845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400" i="1" dirty="0" smtClean="0">
                <a:solidFill>
                  <a:schemeClr val="bg1"/>
                </a:solidFill>
              </a:rPr>
              <a:t>The solution binds all the key tools and components of technology estate to deliver the seamless experience.</a:t>
            </a:r>
            <a:endParaRPr lang="en-GB" sz="14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2366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 bwMode="auto">
          <a:xfrm>
            <a:off x="7574473" y="3550686"/>
            <a:ext cx="2154732" cy="2322645"/>
          </a:xfrm>
          <a:prstGeom prst="rect">
            <a:avLst/>
          </a:prstGeom>
          <a:solidFill>
            <a:schemeClr val="accent2">
              <a:lumMod val="50000"/>
              <a:lumOff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mtClean="0">
              <a:solidFill>
                <a:srgbClr val="808284"/>
              </a:solidFill>
            </a:endParaRPr>
          </a:p>
        </p:txBody>
      </p:sp>
      <p:sp>
        <p:nvSpPr>
          <p:cNvPr id="160" name="Rectangle 2"/>
          <p:cNvSpPr>
            <a:spLocks noChangeArrowheads="1"/>
          </p:cNvSpPr>
          <p:nvPr/>
        </p:nvSpPr>
        <p:spPr bwMode="auto">
          <a:xfrm>
            <a:off x="2650156" y="188915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GB" sz="2400" b="0" dirty="0" smtClean="0">
                <a:solidFill>
                  <a:srgbClr val="00A4E8"/>
                </a:solidFill>
              </a:rPr>
              <a:t>Solution</a:t>
            </a:r>
            <a:endParaRPr lang="en-US" sz="2400" b="0" dirty="0">
              <a:solidFill>
                <a:srgbClr val="00A4E8"/>
              </a:solidFill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409170" y="1175379"/>
            <a:ext cx="7054353" cy="4635396"/>
            <a:chOff x="457201" y="1175379"/>
            <a:chExt cx="8229600" cy="4615821"/>
          </a:xfrm>
        </p:grpSpPr>
        <p:sp>
          <p:nvSpPr>
            <p:cNvPr id="27" name="Rectangle 26"/>
            <p:cNvSpPr/>
            <p:nvPr/>
          </p:nvSpPr>
          <p:spPr>
            <a:xfrm>
              <a:off x="2004115" y="4800600"/>
              <a:ext cx="6682686" cy="990600"/>
            </a:xfrm>
            <a:prstGeom prst="rect">
              <a:avLst/>
            </a:prstGeom>
            <a:solidFill>
              <a:srgbClr val="1F3B92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b="0" kern="0" smtClean="0">
                <a:solidFill>
                  <a:prstClr val="white"/>
                </a:solidFill>
                <a:latin typeface="Calibri"/>
                <a:cs typeface="Calibri"/>
              </a:endParaRPr>
            </a:p>
          </p:txBody>
        </p:sp>
        <p:sp>
          <p:nvSpPr>
            <p:cNvPr id="28" name="Rectangle 88"/>
            <p:cNvSpPr>
              <a:spLocks noChangeArrowheads="1"/>
            </p:cNvSpPr>
            <p:nvPr/>
          </p:nvSpPr>
          <p:spPr bwMode="auto">
            <a:xfrm>
              <a:off x="3639856" y="5180484"/>
              <a:ext cx="3254413" cy="2373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400" b="0" kern="0" dirty="0">
                  <a:solidFill>
                    <a:srgbClr val="FFFFFF"/>
                  </a:solidFill>
                  <a:latin typeface="Calibri"/>
                  <a:cs typeface="Calibri"/>
                </a:rPr>
                <a:t>Application Performance Monitoring</a:t>
              </a:r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55841" y="4936811"/>
              <a:ext cx="730250" cy="718179"/>
            </a:xfrm>
            <a:prstGeom prst="rect">
              <a:avLst/>
            </a:prstGeom>
          </p:spPr>
        </p:pic>
        <p:sp>
          <p:nvSpPr>
            <p:cNvPr id="30" name="Rectangle 29"/>
            <p:cNvSpPr/>
            <p:nvPr/>
          </p:nvSpPr>
          <p:spPr>
            <a:xfrm>
              <a:off x="2004115" y="1750050"/>
              <a:ext cx="1647786" cy="1983750"/>
            </a:xfrm>
            <a:prstGeom prst="rect">
              <a:avLst/>
            </a:prstGeom>
            <a:solidFill>
              <a:srgbClr val="AACCEE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b="0" kern="0" smtClean="0">
                <a:solidFill>
                  <a:prstClr val="white"/>
                </a:solidFill>
                <a:latin typeface="Calibri"/>
                <a:cs typeface="Calibri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3682415" y="1750050"/>
              <a:ext cx="1647786" cy="1983750"/>
            </a:xfrm>
            <a:prstGeom prst="rect">
              <a:avLst/>
            </a:prstGeom>
            <a:solidFill>
              <a:srgbClr val="AACCEE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b="0" kern="0" smtClean="0">
                <a:solidFill>
                  <a:prstClr val="white"/>
                </a:solidFill>
                <a:latin typeface="Calibri"/>
                <a:cs typeface="Calibri"/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5360715" y="1750050"/>
              <a:ext cx="1647786" cy="1983750"/>
            </a:xfrm>
            <a:prstGeom prst="rect">
              <a:avLst/>
            </a:prstGeom>
            <a:solidFill>
              <a:srgbClr val="AACCEE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b="0" kern="0" smtClean="0">
                <a:solidFill>
                  <a:prstClr val="white"/>
                </a:solidFill>
                <a:latin typeface="Calibri"/>
                <a:cs typeface="Calibri"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7039015" y="1750050"/>
              <a:ext cx="1647786" cy="1983750"/>
            </a:xfrm>
            <a:prstGeom prst="rect">
              <a:avLst/>
            </a:prstGeom>
            <a:solidFill>
              <a:srgbClr val="AACCEE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b="0" kern="0" smtClean="0">
                <a:solidFill>
                  <a:prstClr val="white"/>
                </a:solidFill>
                <a:latin typeface="Calibri"/>
                <a:cs typeface="Calibri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457201" y="1748368"/>
              <a:ext cx="1511560" cy="4042831"/>
            </a:xfrm>
            <a:prstGeom prst="rect">
              <a:avLst/>
            </a:prstGeom>
            <a:solidFill>
              <a:srgbClr val="F3702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b="0" kern="0" dirty="0" smtClean="0">
                <a:solidFill>
                  <a:prstClr val="white"/>
                </a:solidFill>
                <a:latin typeface="Calibri"/>
                <a:cs typeface="Calibri"/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b="0" kern="0" dirty="0" smtClean="0">
                <a:solidFill>
                  <a:prstClr val="white"/>
                </a:solidFill>
                <a:latin typeface="Calibri"/>
                <a:cs typeface="Calibri"/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0" kern="0" dirty="0" smtClean="0">
                  <a:solidFill>
                    <a:prstClr val="white"/>
                  </a:solidFill>
                  <a:latin typeface="Calibri"/>
                  <a:cs typeface="Calibri"/>
                </a:rPr>
                <a:t>Provisioning</a:t>
              </a:r>
            </a:p>
          </p:txBody>
        </p:sp>
        <p:sp>
          <p:nvSpPr>
            <p:cNvPr id="35" name="Rectangle 9"/>
            <p:cNvSpPr>
              <a:spLocks noChangeArrowheads="1"/>
            </p:cNvSpPr>
            <p:nvPr/>
          </p:nvSpPr>
          <p:spPr bwMode="auto">
            <a:xfrm>
              <a:off x="457201" y="1175379"/>
              <a:ext cx="8229598" cy="540522"/>
            </a:xfrm>
            <a:prstGeom prst="rect">
              <a:avLst/>
            </a:prstGeom>
            <a:solidFill>
              <a:srgbClr val="1F3B92"/>
            </a:solidFill>
            <a:ln>
              <a:noFill/>
            </a:ln>
            <a:extLst/>
          </p:spPr>
          <p:txBody>
            <a:bodyPr vert="horz" wrap="square" lIns="91440" tIns="0" rIns="91440" bIns="36576" numCol="1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800" b="0" kern="0" dirty="0" smtClean="0">
                  <a:solidFill>
                    <a:prstClr val="white"/>
                  </a:solidFill>
                  <a:latin typeface="Calibri"/>
                  <a:cs typeface="Arial"/>
                </a:rPr>
                <a:t>PCB DevOps Enablement Platform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2004115" y="3767666"/>
              <a:ext cx="6682686" cy="990600"/>
            </a:xfrm>
            <a:prstGeom prst="rect">
              <a:avLst/>
            </a:prstGeom>
            <a:solidFill>
              <a:srgbClr val="0085CC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b="0" kern="0" smtClean="0">
                <a:solidFill>
                  <a:prstClr val="white"/>
                </a:solidFill>
                <a:latin typeface="Calibri"/>
                <a:cs typeface="Calibri"/>
              </a:endParaRPr>
            </a:p>
          </p:txBody>
        </p:sp>
        <p:sp>
          <p:nvSpPr>
            <p:cNvPr id="37" name="Rectangle 88"/>
            <p:cNvSpPr>
              <a:spLocks noChangeArrowheads="1"/>
            </p:cNvSpPr>
            <p:nvPr/>
          </p:nvSpPr>
          <p:spPr bwMode="auto">
            <a:xfrm>
              <a:off x="3639856" y="4147550"/>
              <a:ext cx="1076370" cy="2373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400" b="0" kern="0" dirty="0">
                  <a:solidFill>
                    <a:srgbClr val="FFFFFF"/>
                  </a:solidFill>
                  <a:latin typeface="Calibri"/>
                  <a:cs typeface="Calibri"/>
                </a:rPr>
                <a:t>Log </a:t>
              </a:r>
              <a:r>
                <a:rPr lang="en-US" altLang="en-US" sz="1400" b="0" kern="0" dirty="0" smtClean="0">
                  <a:solidFill>
                    <a:srgbClr val="FFFFFF"/>
                  </a:solidFill>
                  <a:latin typeface="Calibri"/>
                  <a:cs typeface="Calibri"/>
                </a:rPr>
                <a:t>Analysis</a:t>
              </a:r>
              <a:endParaRPr lang="en-US" altLang="en-US" sz="1400" b="0" kern="0" dirty="0">
                <a:solidFill>
                  <a:srgbClr val="FFFFFF"/>
                </a:solidFill>
                <a:latin typeface="Calibri"/>
                <a:cs typeface="Calibri"/>
              </a:endParaRPr>
            </a:p>
          </p:txBody>
        </p:sp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55841" y="3903877"/>
              <a:ext cx="730249" cy="718179"/>
            </a:xfrm>
            <a:prstGeom prst="rect">
              <a:avLst/>
            </a:prstGeom>
          </p:spPr>
        </p:pic>
        <p:sp>
          <p:nvSpPr>
            <p:cNvPr id="39" name="Rectangle 88"/>
            <p:cNvSpPr>
              <a:spLocks noChangeArrowheads="1"/>
            </p:cNvSpPr>
            <p:nvPr/>
          </p:nvSpPr>
          <p:spPr bwMode="auto">
            <a:xfrm>
              <a:off x="2158441" y="2895600"/>
              <a:ext cx="1339136" cy="4068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sz="1200" b="0" kern="0" dirty="0">
                  <a:solidFill>
                    <a:srgbClr val="1F3B92"/>
                  </a:solidFill>
                  <a:latin typeface="Calibri"/>
                  <a:cs typeface="Calibri"/>
                </a:rPr>
                <a:t>Build and </a:t>
              </a:r>
              <a:r>
                <a:rPr lang="en-US" sz="1200" b="0" kern="0" dirty="0" smtClean="0">
                  <a:solidFill>
                    <a:srgbClr val="1F3B92"/>
                  </a:solidFill>
                  <a:latin typeface="Calibri"/>
                  <a:cs typeface="Calibri"/>
                </a:rPr>
                <a:t>Release</a:t>
              </a:r>
            </a:p>
            <a:p>
              <a:pPr algn="ctr">
                <a:defRPr/>
              </a:pPr>
              <a:r>
                <a:rPr lang="en-US" sz="1200" b="0" kern="0" dirty="0" smtClean="0">
                  <a:solidFill>
                    <a:srgbClr val="1F3B92"/>
                  </a:solidFill>
                  <a:latin typeface="Calibri"/>
                  <a:cs typeface="Calibri"/>
                </a:rPr>
                <a:t>Automation</a:t>
              </a:r>
              <a:endParaRPr lang="en-US" sz="1200" b="0" kern="0" dirty="0">
                <a:solidFill>
                  <a:srgbClr val="1F3B92"/>
                </a:solidFill>
                <a:latin typeface="Calibri"/>
                <a:cs typeface="Calibri"/>
              </a:endParaRPr>
            </a:p>
          </p:txBody>
        </p:sp>
        <p:sp>
          <p:nvSpPr>
            <p:cNvPr id="40" name="Rectangle 88"/>
            <p:cNvSpPr>
              <a:spLocks noChangeArrowheads="1"/>
            </p:cNvSpPr>
            <p:nvPr/>
          </p:nvSpPr>
          <p:spPr bwMode="auto">
            <a:xfrm>
              <a:off x="4051819" y="2895600"/>
              <a:ext cx="908978" cy="4068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sz="1200" b="0" kern="0" dirty="0">
                  <a:solidFill>
                    <a:srgbClr val="1F3B92"/>
                  </a:solidFill>
                  <a:latin typeface="Calibri"/>
                  <a:cs typeface="Calibri"/>
                </a:rPr>
                <a:t>Test</a:t>
              </a:r>
            </a:p>
            <a:p>
              <a:pPr algn="ctr">
                <a:defRPr/>
              </a:pPr>
              <a:r>
                <a:rPr lang="en-US" sz="1200" b="0" kern="0" dirty="0">
                  <a:solidFill>
                    <a:srgbClr val="1F3B92"/>
                  </a:solidFill>
                  <a:latin typeface="Calibri"/>
                  <a:cs typeface="Calibri"/>
                </a:rPr>
                <a:t>Automation</a:t>
              </a:r>
            </a:p>
          </p:txBody>
        </p:sp>
        <p:sp>
          <p:nvSpPr>
            <p:cNvPr id="41" name="Rectangle 88"/>
            <p:cNvSpPr>
              <a:spLocks noChangeArrowheads="1"/>
            </p:cNvSpPr>
            <p:nvPr/>
          </p:nvSpPr>
          <p:spPr bwMode="auto">
            <a:xfrm>
              <a:off x="5678539" y="2895600"/>
              <a:ext cx="1012138" cy="4068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sz="1200" b="0" kern="0" dirty="0" smtClean="0">
                  <a:solidFill>
                    <a:srgbClr val="1F3B92"/>
                  </a:solidFill>
                  <a:latin typeface="Calibri"/>
                  <a:cs typeface="Calibri"/>
                </a:rPr>
                <a:t>Service</a:t>
              </a:r>
            </a:p>
            <a:p>
              <a:pPr algn="ctr">
                <a:defRPr/>
              </a:pPr>
              <a:r>
                <a:rPr lang="en-US" sz="1200" b="0" kern="0" dirty="0" smtClean="0">
                  <a:solidFill>
                    <a:srgbClr val="1F3B92"/>
                  </a:solidFill>
                  <a:latin typeface="Calibri"/>
                  <a:cs typeface="Calibri"/>
                </a:rPr>
                <a:t>Virtualization</a:t>
              </a:r>
              <a:endParaRPr lang="en-US" sz="1200" b="0" kern="0" dirty="0">
                <a:solidFill>
                  <a:srgbClr val="1F3B92"/>
                </a:solidFill>
                <a:latin typeface="Calibri"/>
                <a:cs typeface="Calibri"/>
              </a:endParaRPr>
            </a:p>
          </p:txBody>
        </p:sp>
        <p:sp>
          <p:nvSpPr>
            <p:cNvPr id="42" name="Rectangle 88"/>
            <p:cNvSpPr>
              <a:spLocks noChangeArrowheads="1"/>
            </p:cNvSpPr>
            <p:nvPr/>
          </p:nvSpPr>
          <p:spPr bwMode="auto">
            <a:xfrm>
              <a:off x="7436643" y="2895600"/>
              <a:ext cx="852531" cy="203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sz="1200" b="0" kern="0" dirty="0">
                  <a:solidFill>
                    <a:srgbClr val="1F3B92"/>
                  </a:solidFill>
                  <a:latin typeface="Calibri"/>
                  <a:cs typeface="Calibri"/>
                </a:rPr>
                <a:t>Monitoring</a:t>
              </a:r>
            </a:p>
          </p:txBody>
        </p:sp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62884" y="2133600"/>
              <a:ext cx="730249" cy="718179"/>
            </a:xfrm>
            <a:prstGeom prst="rect">
              <a:avLst/>
            </a:prstGeom>
          </p:spPr>
        </p:pic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41184" y="2133600"/>
              <a:ext cx="730249" cy="718178"/>
            </a:xfrm>
            <a:prstGeom prst="rect">
              <a:avLst/>
            </a:prstGeom>
          </p:spPr>
        </p:pic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9484" y="2133600"/>
              <a:ext cx="730249" cy="718178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97784" y="2133600"/>
              <a:ext cx="730249" cy="718178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7857" y="3124200"/>
              <a:ext cx="730249" cy="718178"/>
            </a:xfrm>
            <a:prstGeom prst="rect">
              <a:avLst/>
            </a:prstGeom>
          </p:spPr>
        </p:pic>
      </p:grpSp>
      <p:sp>
        <p:nvSpPr>
          <p:cNvPr id="3" name="Rectangle 2"/>
          <p:cNvSpPr/>
          <p:nvPr/>
        </p:nvSpPr>
        <p:spPr bwMode="auto">
          <a:xfrm>
            <a:off x="7569042" y="1172774"/>
            <a:ext cx="2160163" cy="2322645"/>
          </a:xfrm>
          <a:prstGeom prst="rect">
            <a:avLst/>
          </a:prstGeom>
          <a:solidFill>
            <a:schemeClr val="accent2">
              <a:lumMod val="50000"/>
              <a:lumOff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mtClean="0">
              <a:solidFill>
                <a:srgbClr val="808284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7740252" y="1520304"/>
            <a:ext cx="16773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 smtClean="0">
                <a:solidFill>
                  <a:srgbClr val="FFFFFF"/>
                </a:solidFill>
                <a:latin typeface="Calibri" panose="020F0502020204030204" pitchFamily="34" charset="0"/>
              </a:rPr>
              <a:t>Lean/Agile Processes</a:t>
            </a:r>
            <a:endParaRPr lang="en-US" sz="1200" b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7692235" y="4678026"/>
            <a:ext cx="180825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 smtClean="0">
                <a:solidFill>
                  <a:srgbClr val="FFFFFF"/>
                </a:solidFill>
                <a:latin typeface="Calibri" panose="020F0502020204030204" pitchFamily="34" charset="0"/>
              </a:rPr>
              <a:t>Audit Trail all the way from issues/ requirements to releases.</a:t>
            </a:r>
            <a:endParaRPr lang="en-US" sz="1200" b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738337" y="2361916"/>
            <a:ext cx="276501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 smtClean="0">
                <a:solidFill>
                  <a:srgbClr val="FFFFFF"/>
                </a:solidFill>
                <a:latin typeface="Calibri" panose="020F0502020204030204" pitchFamily="34" charset="0"/>
              </a:rPr>
              <a:t>Left shift testing</a:t>
            </a:r>
            <a:endParaRPr lang="en-US" sz="1200" b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7738337" y="2077155"/>
            <a:ext cx="276501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 smtClean="0">
                <a:solidFill>
                  <a:srgbClr val="FFFFFF"/>
                </a:solidFill>
                <a:latin typeface="Calibri" panose="020F0502020204030204" pitchFamily="34" charset="0"/>
              </a:rPr>
              <a:t>Fail fast/Quick feedback.</a:t>
            </a:r>
            <a:endParaRPr lang="en-US" sz="1200" b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7692235" y="5422610"/>
            <a:ext cx="18666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dirty="0" smtClean="0">
                <a:solidFill>
                  <a:srgbClr val="FFFFFF"/>
                </a:solidFill>
                <a:latin typeface="Calibri" panose="020F0502020204030204" pitchFamily="34" charset="0"/>
              </a:rPr>
              <a:t>Reduced cycle time for testing</a:t>
            </a:r>
            <a:endParaRPr lang="en-US" sz="1200" b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7738337" y="1778579"/>
            <a:ext cx="189222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ntinuous feedback</a:t>
            </a:r>
            <a:endParaRPr lang="en-US" sz="1200" b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7738337" y="2872497"/>
            <a:ext cx="19908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 smtClean="0">
                <a:solidFill>
                  <a:srgbClr val="FFFFFF"/>
                </a:solidFill>
                <a:latin typeface="Calibri" panose="020F0502020204030204" pitchFamily="34" charset="0"/>
              </a:rPr>
              <a:t>Request/Schedule/Book/Validate &amp; Claim back Environments.</a:t>
            </a:r>
            <a:endParaRPr lang="en-US" sz="1200" b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707597" y="4236688"/>
            <a:ext cx="17099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 smtClean="0">
                <a:solidFill>
                  <a:srgbClr val="FFFFFF"/>
                </a:solidFill>
                <a:latin typeface="Calibri" panose="020F0502020204030204" pitchFamily="34" charset="0"/>
              </a:rPr>
              <a:t>Faster, Automated Provisioning.</a:t>
            </a:r>
            <a:endParaRPr lang="en-US" sz="1200" b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7738337" y="2607697"/>
            <a:ext cx="276501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 smtClean="0">
                <a:solidFill>
                  <a:srgbClr val="FFFFFF"/>
                </a:solidFill>
                <a:latin typeface="Calibri" panose="020F0502020204030204" pitchFamily="34" charset="0"/>
              </a:rPr>
              <a:t>Requirement tracing.</a:t>
            </a:r>
            <a:endParaRPr lang="en-US" sz="1200" b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7703271" y="3861026"/>
            <a:ext cx="276501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 smtClean="0">
                <a:solidFill>
                  <a:srgbClr val="FFFFFF"/>
                </a:solidFill>
                <a:latin typeface="Calibri" panose="020F0502020204030204" pitchFamily="34" charset="0"/>
              </a:rPr>
              <a:t>Fewer Production failures and incidents</a:t>
            </a:r>
            <a:endParaRPr lang="en-US" sz="1200" b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409170" y="6037058"/>
            <a:ext cx="9125312" cy="50738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400" i="1" dirty="0" smtClean="0">
                <a:solidFill>
                  <a:srgbClr val="FFFFFF"/>
                </a:solidFill>
              </a:rPr>
              <a:t>DevOps platform solution provides a </a:t>
            </a:r>
            <a:r>
              <a:rPr lang="en-GB" sz="1400" i="1" dirty="0">
                <a:solidFill>
                  <a:srgbClr val="FFFFFF"/>
                </a:solidFill>
              </a:rPr>
              <a:t>f</a:t>
            </a:r>
            <a:r>
              <a:rPr lang="en-GB" sz="1400" i="1" dirty="0" smtClean="0">
                <a:solidFill>
                  <a:srgbClr val="FFFFFF"/>
                </a:solidFill>
              </a:rPr>
              <a:t>ully automated</a:t>
            </a:r>
            <a:r>
              <a:rPr lang="en-GB" sz="1400" i="1" dirty="0">
                <a:solidFill>
                  <a:srgbClr val="FFFFFF"/>
                </a:solidFill>
              </a:rPr>
              <a:t>, </a:t>
            </a:r>
            <a:r>
              <a:rPr lang="en-GB" sz="1400" i="1" dirty="0" smtClean="0">
                <a:solidFill>
                  <a:srgbClr val="FFFFFF"/>
                </a:solidFill>
              </a:rPr>
              <a:t>self-service platform with an auditable workflow</a:t>
            </a:r>
            <a:endParaRPr lang="en-GB" sz="1400" i="1" dirty="0">
              <a:solidFill>
                <a:srgbClr val="FFFFFF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7874104" y="1206347"/>
            <a:ext cx="276501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Features</a:t>
            </a: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7822886" y="3584027"/>
            <a:ext cx="129795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Benefits</a:t>
            </a: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49932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315038" y="1770374"/>
            <a:ext cx="1219746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 b="1" dirty="0">
                <a:solidFill>
                  <a:srgbClr val="0085CC"/>
                </a:solidFill>
                <a:latin typeface="Calibri" panose="020F0502020204030204" pitchFamily="34" charset="0"/>
              </a:rPr>
              <a:t>PMs Onboarded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 b="1" dirty="0">
                <a:solidFill>
                  <a:srgbClr val="0085CC"/>
                </a:solidFill>
                <a:latin typeface="Calibri" panose="020F0502020204030204" pitchFamily="34" charset="0"/>
              </a:rPr>
              <a:t>SMEs Onboarded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830282" y="1762048"/>
            <a:ext cx="1157251" cy="51552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600"/>
              </a:spcAft>
            </a:pPr>
            <a:r>
              <a:rPr lang="en-US" sz="800" b="1" dirty="0">
                <a:solidFill>
                  <a:srgbClr val="0085CC"/>
                </a:solidFill>
                <a:latin typeface="Calibri" panose="020F0502020204030204" pitchFamily="34" charset="0"/>
              </a:rPr>
              <a:t>Pilot Execution Team Onboarded</a:t>
            </a:r>
          </a:p>
          <a:p>
            <a:pPr algn="ctr" fontAlgn="auto">
              <a:spcBef>
                <a:spcPts val="0"/>
              </a:spcBef>
              <a:spcAft>
                <a:spcPts val="600"/>
              </a:spcAft>
            </a:pPr>
            <a:r>
              <a:rPr lang="en-US" sz="800" b="1" dirty="0" smtClean="0">
                <a:solidFill>
                  <a:srgbClr val="0085CC"/>
                </a:solidFill>
                <a:latin typeface="Calibri" panose="020F0502020204030204" pitchFamily="34" charset="0"/>
              </a:rPr>
              <a:t>Design </a:t>
            </a:r>
            <a:r>
              <a:rPr lang="en-US" sz="800" b="1" dirty="0">
                <a:solidFill>
                  <a:srgbClr val="0085CC"/>
                </a:solidFill>
                <a:latin typeface="Calibri" panose="020F0502020204030204" pitchFamily="34" charset="0"/>
              </a:rPr>
              <a:t>Sprint  Ends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2922802" y="2130453"/>
            <a:ext cx="0" cy="838800"/>
          </a:xfrm>
          <a:prstGeom prst="line">
            <a:avLst/>
          </a:prstGeom>
          <a:noFill/>
          <a:ln w="12700" cap="flat" cmpd="sng" algn="ctr">
            <a:solidFill>
              <a:srgbClr val="0085CC"/>
            </a:solidFill>
            <a:prstDash val="sysDash"/>
          </a:ln>
          <a:effectLst/>
        </p:spPr>
      </p:cxnSp>
      <p:sp>
        <p:nvSpPr>
          <p:cNvPr id="6" name="Rectangle 5"/>
          <p:cNvSpPr/>
          <p:nvPr/>
        </p:nvSpPr>
        <p:spPr>
          <a:xfrm>
            <a:off x="2431594" y="1755803"/>
            <a:ext cx="974092" cy="374650"/>
          </a:xfrm>
          <a:prstGeom prst="rect">
            <a:avLst/>
          </a:prstGeom>
          <a:noFill/>
          <a:ln w="9525" cap="flat" cmpd="sng" algn="ctr">
            <a:solidFill>
              <a:srgbClr val="0085CC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905211" y="1745398"/>
            <a:ext cx="1007391" cy="574465"/>
          </a:xfrm>
          <a:prstGeom prst="rect">
            <a:avLst/>
          </a:prstGeom>
          <a:noFill/>
          <a:ln w="9525" cap="flat" cmpd="sng" algn="ctr">
            <a:solidFill>
              <a:srgbClr val="0085CC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341880" y="2296963"/>
            <a:ext cx="8966199" cy="672289"/>
            <a:chOff x="42333" y="1857125"/>
            <a:chExt cx="8966199" cy="672289"/>
          </a:xfrm>
        </p:grpSpPr>
        <p:sp>
          <p:nvSpPr>
            <p:cNvPr id="9" name="TextBox 8"/>
            <p:cNvSpPr txBox="1"/>
            <p:nvPr/>
          </p:nvSpPr>
          <p:spPr>
            <a:xfrm>
              <a:off x="42333" y="1883928"/>
              <a:ext cx="1219746" cy="31547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68580" tIns="34290" rIns="68580" bIns="3429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Solution Architecture Group Formed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670458" y="1883928"/>
              <a:ext cx="901189" cy="315471"/>
            </a:xfrm>
            <a:prstGeom prst="rect">
              <a:avLst/>
            </a:prstGeom>
            <a:noFill/>
          </p:spPr>
          <p:txBody>
            <a:bodyPr wrap="square" lIns="68580" tIns="34290" rIns="68580" bIns="3429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5CC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Design Team Onboarded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159864" y="2004987"/>
              <a:ext cx="901189" cy="192360"/>
            </a:xfrm>
            <a:prstGeom prst="rect">
              <a:avLst/>
            </a:prstGeom>
            <a:noFill/>
          </p:spPr>
          <p:txBody>
            <a:bodyPr wrap="square" lIns="68580" tIns="34290" rIns="68580" bIns="3429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5CC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Sprint 1 Ends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5157330" y="2004987"/>
              <a:ext cx="901189" cy="192360"/>
            </a:xfrm>
            <a:prstGeom prst="rect">
              <a:avLst/>
            </a:prstGeom>
            <a:noFill/>
          </p:spPr>
          <p:txBody>
            <a:bodyPr wrap="square" lIns="68580" tIns="34290" rIns="68580" bIns="3429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5CC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Sprint 2 Ends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141774" y="2004987"/>
              <a:ext cx="901189" cy="192360"/>
            </a:xfrm>
            <a:prstGeom prst="rect">
              <a:avLst/>
            </a:prstGeom>
            <a:noFill/>
          </p:spPr>
          <p:txBody>
            <a:bodyPr wrap="square" lIns="68580" tIns="34290" rIns="68580" bIns="3429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5CC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Sprint 3 Ends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7135064" y="2004987"/>
              <a:ext cx="901189" cy="192360"/>
            </a:xfrm>
            <a:prstGeom prst="rect">
              <a:avLst/>
            </a:prstGeom>
            <a:noFill/>
          </p:spPr>
          <p:txBody>
            <a:bodyPr wrap="square" lIns="68580" tIns="34290" rIns="68580" bIns="3429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5CC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Sprint 4 Ends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8107343" y="2004987"/>
              <a:ext cx="901189" cy="192360"/>
            </a:xfrm>
            <a:prstGeom prst="rect">
              <a:avLst/>
            </a:prstGeom>
            <a:noFill/>
          </p:spPr>
          <p:txBody>
            <a:bodyPr wrap="square" lIns="68580" tIns="34290" rIns="68580" bIns="3429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5CC"/>
                  </a:solidFill>
                  <a:effectLst/>
                  <a:uLnTx/>
                  <a:uFillTx/>
                  <a:latin typeface="Calibri"/>
                </a:rPr>
                <a:t>Sprint 5 Ends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606851" y="1883928"/>
              <a:ext cx="901189" cy="315471"/>
            </a:xfrm>
            <a:prstGeom prst="rect">
              <a:avLst/>
            </a:prstGeom>
            <a:noFill/>
          </p:spPr>
          <p:txBody>
            <a:bodyPr wrap="square" lIns="68580" tIns="34290" rIns="68580" bIns="3429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5CC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Team Onboarding Logistics</a:t>
              </a:r>
            </a:p>
          </p:txBody>
        </p:sp>
        <p:cxnSp>
          <p:nvCxnSpPr>
            <p:cNvPr id="17" name="Straight Connector 16"/>
            <p:cNvCxnSpPr/>
            <p:nvPr/>
          </p:nvCxnSpPr>
          <p:spPr>
            <a:xfrm>
              <a:off x="8567703" y="2229694"/>
              <a:ext cx="0" cy="299720"/>
            </a:xfrm>
            <a:prstGeom prst="line">
              <a:avLst/>
            </a:prstGeom>
            <a:noFill/>
            <a:ln w="12700" cap="flat" cmpd="sng" algn="ctr">
              <a:solidFill>
                <a:srgbClr val="0085CC"/>
              </a:solidFill>
              <a:prstDash val="sysDash"/>
            </a:ln>
            <a:effectLst/>
          </p:spPr>
        </p:cxnSp>
        <p:cxnSp>
          <p:nvCxnSpPr>
            <p:cNvPr id="18" name="Straight Connector 17"/>
            <p:cNvCxnSpPr/>
            <p:nvPr/>
          </p:nvCxnSpPr>
          <p:spPr>
            <a:xfrm>
              <a:off x="7576961" y="2229694"/>
              <a:ext cx="0" cy="299720"/>
            </a:xfrm>
            <a:prstGeom prst="line">
              <a:avLst/>
            </a:prstGeom>
            <a:noFill/>
            <a:ln w="12700" cap="flat" cmpd="sng" algn="ctr">
              <a:solidFill>
                <a:srgbClr val="0085CC"/>
              </a:solidFill>
              <a:prstDash val="sysDash"/>
            </a:ln>
            <a:effectLst/>
          </p:spPr>
        </p:cxnSp>
        <p:cxnSp>
          <p:nvCxnSpPr>
            <p:cNvPr id="19" name="Straight Connector 18"/>
            <p:cNvCxnSpPr/>
            <p:nvPr/>
          </p:nvCxnSpPr>
          <p:spPr>
            <a:xfrm>
              <a:off x="6586220" y="2229694"/>
              <a:ext cx="0" cy="299720"/>
            </a:xfrm>
            <a:prstGeom prst="line">
              <a:avLst/>
            </a:prstGeom>
            <a:noFill/>
            <a:ln w="12700" cap="flat" cmpd="sng" algn="ctr">
              <a:solidFill>
                <a:srgbClr val="0085CC"/>
              </a:solidFill>
              <a:prstDash val="sysDash"/>
            </a:ln>
            <a:effectLst/>
          </p:spPr>
        </p:cxnSp>
        <p:cxnSp>
          <p:nvCxnSpPr>
            <p:cNvPr id="20" name="Straight Connector 19"/>
            <p:cNvCxnSpPr/>
            <p:nvPr/>
          </p:nvCxnSpPr>
          <p:spPr>
            <a:xfrm>
              <a:off x="5603805" y="2229694"/>
              <a:ext cx="0" cy="299720"/>
            </a:xfrm>
            <a:prstGeom prst="line">
              <a:avLst/>
            </a:prstGeom>
            <a:noFill/>
            <a:ln w="12700" cap="flat" cmpd="sng" algn="ctr">
              <a:solidFill>
                <a:srgbClr val="0085CC"/>
              </a:solidFill>
              <a:prstDash val="sysDash"/>
            </a:ln>
            <a:effectLst/>
          </p:spPr>
        </p:cxnSp>
        <p:cxnSp>
          <p:nvCxnSpPr>
            <p:cNvPr id="21" name="Straight Connector 20"/>
            <p:cNvCxnSpPr/>
            <p:nvPr/>
          </p:nvCxnSpPr>
          <p:spPr>
            <a:xfrm>
              <a:off x="4604738" y="2229694"/>
              <a:ext cx="0" cy="299720"/>
            </a:xfrm>
            <a:prstGeom prst="line">
              <a:avLst/>
            </a:prstGeom>
            <a:noFill/>
            <a:ln w="12700" cap="flat" cmpd="sng" algn="ctr">
              <a:solidFill>
                <a:srgbClr val="0085CC"/>
              </a:solidFill>
              <a:prstDash val="sysDash"/>
            </a:ln>
            <a:effectLst/>
          </p:spPr>
        </p:cxnSp>
        <p:cxnSp>
          <p:nvCxnSpPr>
            <p:cNvPr id="22" name="Straight Connector 21"/>
            <p:cNvCxnSpPr/>
            <p:nvPr/>
          </p:nvCxnSpPr>
          <p:spPr>
            <a:xfrm>
              <a:off x="3114464" y="2229694"/>
              <a:ext cx="0" cy="299720"/>
            </a:xfrm>
            <a:prstGeom prst="line">
              <a:avLst/>
            </a:prstGeom>
            <a:noFill/>
            <a:ln w="12700" cap="flat" cmpd="sng" algn="ctr">
              <a:solidFill>
                <a:srgbClr val="0085CC"/>
              </a:solidFill>
              <a:prstDash val="sysDash"/>
            </a:ln>
            <a:effectLst/>
          </p:spPr>
        </p:cxnSp>
        <p:cxnSp>
          <p:nvCxnSpPr>
            <p:cNvPr id="23" name="Straight Connector 22"/>
            <p:cNvCxnSpPr/>
            <p:nvPr/>
          </p:nvCxnSpPr>
          <p:spPr>
            <a:xfrm>
              <a:off x="2123723" y="2229694"/>
              <a:ext cx="0" cy="299720"/>
            </a:xfrm>
            <a:prstGeom prst="line">
              <a:avLst/>
            </a:prstGeom>
            <a:noFill/>
            <a:ln w="12700" cap="flat" cmpd="sng" algn="ctr">
              <a:solidFill>
                <a:srgbClr val="0085CC"/>
              </a:solidFill>
              <a:prstDash val="sysDash"/>
            </a:ln>
            <a:effectLst/>
          </p:spPr>
        </p:cxnSp>
        <p:cxnSp>
          <p:nvCxnSpPr>
            <p:cNvPr id="24" name="Straight Connector 23"/>
            <p:cNvCxnSpPr/>
            <p:nvPr/>
          </p:nvCxnSpPr>
          <p:spPr>
            <a:xfrm>
              <a:off x="641774" y="2229694"/>
              <a:ext cx="0" cy="299720"/>
            </a:xfrm>
            <a:prstGeom prst="line">
              <a:avLst/>
            </a:prstGeom>
            <a:noFill/>
            <a:ln w="12700" cap="flat" cmpd="sng" algn="ctr">
              <a:solidFill>
                <a:srgbClr val="0085CC"/>
              </a:solidFill>
              <a:prstDash val="sysDash"/>
            </a:ln>
            <a:effectLst/>
          </p:spPr>
        </p:cxnSp>
        <p:sp>
          <p:nvSpPr>
            <p:cNvPr id="25" name="Rectangle 24"/>
            <p:cNvSpPr/>
            <p:nvPr/>
          </p:nvSpPr>
          <p:spPr>
            <a:xfrm>
              <a:off x="167217" y="1857125"/>
              <a:ext cx="982415" cy="37465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1607539" y="1857125"/>
              <a:ext cx="899156" cy="374650"/>
            </a:xfrm>
            <a:prstGeom prst="rect">
              <a:avLst/>
            </a:prstGeom>
            <a:noFill/>
            <a:ln w="9525" cap="flat" cmpd="sng" algn="ctr">
              <a:solidFill>
                <a:srgbClr val="0085C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2764789" y="1857125"/>
              <a:ext cx="699349" cy="374650"/>
            </a:xfrm>
            <a:prstGeom prst="rect">
              <a:avLst/>
            </a:prstGeom>
            <a:noFill/>
            <a:ln w="9525" cap="flat" cmpd="sng" algn="ctr">
              <a:solidFill>
                <a:srgbClr val="0085C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4246737" y="1982009"/>
              <a:ext cx="732652" cy="249766"/>
            </a:xfrm>
            <a:prstGeom prst="rect">
              <a:avLst/>
            </a:prstGeom>
            <a:noFill/>
            <a:ln w="9525" cap="flat" cmpd="sng" algn="ctr">
              <a:solidFill>
                <a:srgbClr val="0085C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5229153" y="1982009"/>
              <a:ext cx="732652" cy="249766"/>
            </a:xfrm>
            <a:prstGeom prst="rect">
              <a:avLst/>
            </a:prstGeom>
            <a:noFill/>
            <a:ln w="9525" cap="flat" cmpd="sng" algn="ctr">
              <a:solidFill>
                <a:srgbClr val="0085C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6219896" y="1982009"/>
              <a:ext cx="732652" cy="249766"/>
            </a:xfrm>
            <a:prstGeom prst="rect">
              <a:avLst/>
            </a:prstGeom>
            <a:noFill/>
            <a:ln w="9525" cap="flat" cmpd="sng" algn="ctr">
              <a:solidFill>
                <a:srgbClr val="0085C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7210638" y="1982009"/>
              <a:ext cx="732652" cy="249766"/>
            </a:xfrm>
            <a:prstGeom prst="rect">
              <a:avLst/>
            </a:prstGeom>
            <a:noFill/>
            <a:ln w="9525" cap="flat" cmpd="sng" algn="ctr">
              <a:solidFill>
                <a:srgbClr val="0085C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8193054" y="1982009"/>
              <a:ext cx="732652" cy="249766"/>
            </a:xfrm>
            <a:prstGeom prst="rect">
              <a:avLst/>
            </a:prstGeom>
            <a:noFill/>
            <a:ln w="9525" cap="flat" cmpd="sng" algn="ctr">
              <a:solidFill>
                <a:srgbClr val="0085C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33" name="Straight Connector 32"/>
            <p:cNvCxnSpPr/>
            <p:nvPr/>
          </p:nvCxnSpPr>
          <p:spPr>
            <a:xfrm>
              <a:off x="4105204" y="1882103"/>
              <a:ext cx="0" cy="647311"/>
            </a:xfrm>
            <a:prstGeom prst="line">
              <a:avLst/>
            </a:prstGeom>
            <a:noFill/>
            <a:ln w="12700" cap="flat" cmpd="sng" algn="ctr">
              <a:solidFill>
                <a:srgbClr val="0085CC"/>
              </a:solidFill>
              <a:prstDash val="sysDash"/>
            </a:ln>
            <a:effectLst/>
          </p:spPr>
        </p:cxnSp>
      </p:grpSp>
      <p:graphicFrame>
        <p:nvGraphicFramePr>
          <p:cNvPr id="34" name="Table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7674181"/>
              </p:ext>
            </p:extLst>
          </p:nvPr>
        </p:nvGraphicFramePr>
        <p:xfrm>
          <a:off x="694097" y="2780985"/>
          <a:ext cx="8422633" cy="946486"/>
        </p:xfrm>
        <a:graphic>
          <a:graphicData uri="http://schemas.openxmlformats.org/drawingml/2006/table">
            <a:tbl>
              <a:tblPr/>
              <a:tblGrid>
                <a:gridCol w="495449"/>
                <a:gridCol w="495449"/>
                <a:gridCol w="495449"/>
                <a:gridCol w="495449"/>
                <a:gridCol w="495449"/>
                <a:gridCol w="495449"/>
                <a:gridCol w="495449"/>
                <a:gridCol w="495449"/>
                <a:gridCol w="495449"/>
                <a:gridCol w="495449"/>
                <a:gridCol w="495449"/>
                <a:gridCol w="495449"/>
                <a:gridCol w="495449"/>
                <a:gridCol w="495449"/>
                <a:gridCol w="495449"/>
                <a:gridCol w="495449"/>
                <a:gridCol w="495449"/>
              </a:tblGrid>
              <a:tr h="3813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T-4</a:t>
                      </a:r>
                      <a:br>
                        <a:rPr lang="en-US" sz="1200" b="1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W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T-3</a:t>
                      </a:r>
                      <a:br>
                        <a:rPr lang="en-US" sz="1200" b="1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W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T-2</a:t>
                      </a:r>
                      <a:br>
                        <a:rPr lang="en-US" sz="1200" b="1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W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T-1</a:t>
                      </a:r>
                      <a:br>
                        <a:rPr lang="en-US" sz="1200" b="1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W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800" b="1" dirty="0" smtClean="0">
                          <a:solidFill>
                            <a:schemeClr val="bg1"/>
                          </a:solidFill>
                        </a:rPr>
                        <a:t>T</a:t>
                      </a:r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T+1</a:t>
                      </a:r>
                      <a:br>
                        <a:rPr lang="en-US" sz="1200" b="1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W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T+2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W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T+3</a:t>
                      </a:r>
                      <a:br>
                        <a:rPr lang="en-US" sz="1200" b="1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W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T+4</a:t>
                      </a:r>
                      <a:br>
                        <a:rPr lang="en-US" sz="1200" b="1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W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T+5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W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T+6</a:t>
                      </a:r>
                      <a:br>
                        <a:rPr lang="en-US" sz="1200" b="1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W</a:t>
                      </a: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T+7</a:t>
                      </a:r>
                      <a:br>
                        <a:rPr lang="en-US" sz="1200" b="1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W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T+8</a:t>
                      </a:r>
                      <a:br>
                        <a:rPr lang="en-US" sz="1200" b="1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W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T+9</a:t>
                      </a:r>
                      <a:br>
                        <a:rPr lang="en-US" sz="1200" b="1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W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T+10</a:t>
                      </a:r>
                      <a:br>
                        <a:rPr lang="en-US" sz="1200" b="1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W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T+11</a:t>
                      </a:r>
                      <a:br>
                        <a:rPr lang="en-US" sz="1200" b="1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W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T+12</a:t>
                      </a:r>
                      <a:br>
                        <a:rPr lang="en-US" sz="1200" b="1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W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5CC"/>
                    </a:solidFill>
                  </a:tcPr>
                </a:tc>
              </a:tr>
              <a:tr h="1322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endParaRPr lang="en-US" sz="6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6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6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endParaRPr lang="en-US" sz="6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endParaRPr lang="en-US" sz="6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6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6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6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6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6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6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6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6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6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6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6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6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813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JUN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03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3B9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JUN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10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3B9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JUN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17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3B9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JUN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24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3B9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JUL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01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3B9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JUL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08</a:t>
                      </a:r>
                    </a:p>
                  </a:txBody>
                  <a:tcPr marL="93585" marR="93585" marT="46792" marB="4679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3B9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JUL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15</a:t>
                      </a:r>
                    </a:p>
                  </a:txBody>
                  <a:tcPr marL="93585" marR="93585" marT="46792" marB="4679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3B9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JUL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22</a:t>
                      </a:r>
                    </a:p>
                  </a:txBody>
                  <a:tcPr marL="93585" marR="93585" marT="46792" marB="4679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3B9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JUL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29</a:t>
                      </a:r>
                    </a:p>
                  </a:txBody>
                  <a:tcPr marL="93585" marR="93585" marT="46792" marB="4679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3B9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AUG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marL="93585" marR="93585" marT="46792" marB="4679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3B9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AUG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12</a:t>
                      </a:r>
                    </a:p>
                  </a:txBody>
                  <a:tcPr marL="93585" marR="93585" marT="46792" marB="4679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3B9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AUG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19</a:t>
                      </a:r>
                    </a:p>
                  </a:txBody>
                  <a:tcPr marL="93585" marR="93585" marT="46792" marB="4679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3B9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AUG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26</a:t>
                      </a:r>
                    </a:p>
                  </a:txBody>
                  <a:tcPr marL="93585" marR="93585" marT="46792" marB="4679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3B9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SEP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02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3B9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SEP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09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3B9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SEP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16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3B9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SEP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23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93585" marR="93585" marT="46792" marB="46792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3B92"/>
                    </a:solidFill>
                  </a:tcPr>
                </a:tc>
              </a:tr>
            </a:tbl>
          </a:graphicData>
        </a:graphic>
      </p:graphicFrame>
      <p:sp>
        <p:nvSpPr>
          <p:cNvPr id="35" name="TextBox 34"/>
          <p:cNvSpPr txBox="1"/>
          <p:nvPr/>
        </p:nvSpPr>
        <p:spPr>
          <a:xfrm>
            <a:off x="8349117" y="3898104"/>
            <a:ext cx="901189" cy="83869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 panose="020F0502020204030204" pitchFamily="34" charset="0"/>
              </a:rPr>
              <a:t>Platform v1.0 Launch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 panose="020F0502020204030204" pitchFamily="34" charset="0"/>
              </a:rPr>
              <a:t>Pilot Applications Onboarded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 dirty="0" smtClean="0">
              <a:ln>
                <a:noFill/>
              </a:ln>
              <a:solidFill>
                <a:srgbClr val="1F3B92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496685" y="3914756"/>
            <a:ext cx="901189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 panose="020F0502020204030204" pitchFamily="34" charset="0"/>
              </a:rPr>
              <a:t>Pilot Applications Identified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459355" y="3914756"/>
            <a:ext cx="901189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 panose="020F0502020204030204" pitchFamily="34" charset="0"/>
              </a:rPr>
              <a:t>Pilot Applications Profiled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738706" y="4405965"/>
            <a:ext cx="1305643" cy="71558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 panose="020F0502020204030204" pitchFamily="34" charset="0"/>
              </a:rPr>
              <a:t>Backlog Defined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 panose="020F0502020204030204" pitchFamily="34" charset="0"/>
              </a:rPr>
              <a:t>Low Level Design Approved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 panose="020F0502020204030204" pitchFamily="34" charset="0"/>
              </a:rPr>
              <a:t>Work Streams Execution Starts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423503" y="3914756"/>
            <a:ext cx="1082309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 panose="020F0502020204030204" pitchFamily="34" charset="0"/>
              </a:rPr>
              <a:t>Platform Foundation Elements Available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967298" y="4150517"/>
            <a:ext cx="898117" cy="3154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>
            <a:spAutoFit/>
          </a:bodyPr>
          <a:lstStyle>
            <a:defPPr>
              <a:defRPr lang="en-US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1" i="0" u="none" strike="noStrike" kern="0" cap="none" spc="0" normalizeH="0" baseline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dirty="0"/>
              <a:t>Draft TOM Available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475331" y="3839806"/>
            <a:ext cx="901189" cy="192360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 panose="020F0502020204030204" pitchFamily="34" charset="0"/>
              </a:rPr>
              <a:t>TOM Available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966439" y="4453928"/>
            <a:ext cx="898976" cy="3154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>
            <a:spAutoFit/>
          </a:bodyPr>
          <a:lstStyle>
            <a:defPPr>
              <a:defRPr lang="en-US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1" i="0" u="none" strike="noStrike" kern="0" cap="none" spc="0" normalizeH="0" baseline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dirty="0"/>
              <a:t>Team Structure Defined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966440" y="4743843"/>
            <a:ext cx="898976" cy="3154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>
            <a:spAutoFit/>
          </a:bodyPr>
          <a:lstStyle>
            <a:defPPr>
              <a:defRPr lang="en-US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1" i="0" u="none" strike="noStrike" kern="0" cap="none" spc="0" normalizeH="0" baseline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dirty="0"/>
              <a:t>Staffing Plan Defined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7399883" y="3889778"/>
            <a:ext cx="901189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 panose="020F0502020204030204" pitchFamily="34" charset="0"/>
              </a:rPr>
              <a:t>Platform v1.0 Development Complete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974234" y="4150517"/>
            <a:ext cx="901189" cy="120802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 panose="020F0502020204030204" pitchFamily="34" charset="0"/>
              </a:rPr>
              <a:t>Profiling Template Defined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 panose="020F0502020204030204" pitchFamily="34" charset="0"/>
              </a:rPr>
              <a:t>Partner IP Infrastructure Defined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 panose="020F0502020204030204" pitchFamily="34" charset="0"/>
              </a:rPr>
              <a:t>Sandbox Infrastructure Defined</a:t>
            </a:r>
          </a:p>
        </p:txBody>
      </p:sp>
      <p:cxnSp>
        <p:nvCxnSpPr>
          <p:cNvPr id="46" name="Straight Connector 45"/>
          <p:cNvCxnSpPr/>
          <p:nvPr/>
        </p:nvCxnSpPr>
        <p:spPr>
          <a:xfrm>
            <a:off x="1932062" y="3598366"/>
            <a:ext cx="0" cy="224790"/>
          </a:xfrm>
          <a:prstGeom prst="line">
            <a:avLst/>
          </a:prstGeom>
          <a:noFill/>
          <a:ln w="12700" cap="flat" cmpd="sng" algn="ctr">
            <a:solidFill>
              <a:srgbClr val="1F3B92"/>
            </a:solidFill>
            <a:prstDash val="sysDash"/>
          </a:ln>
          <a:effectLst/>
        </p:spPr>
      </p:cxnSp>
      <p:cxnSp>
        <p:nvCxnSpPr>
          <p:cNvPr id="47" name="Straight Connector 46"/>
          <p:cNvCxnSpPr/>
          <p:nvPr/>
        </p:nvCxnSpPr>
        <p:spPr>
          <a:xfrm>
            <a:off x="1432529" y="3598363"/>
            <a:ext cx="0" cy="539496"/>
          </a:xfrm>
          <a:prstGeom prst="line">
            <a:avLst/>
          </a:prstGeom>
          <a:noFill/>
          <a:ln w="12700" cap="flat" cmpd="sng" algn="ctr">
            <a:solidFill>
              <a:srgbClr val="1F3B92"/>
            </a:solidFill>
            <a:prstDash val="sysDash"/>
          </a:ln>
          <a:effectLst/>
        </p:spPr>
      </p:cxnSp>
      <p:cxnSp>
        <p:nvCxnSpPr>
          <p:cNvPr id="48" name="Straight Connector 47"/>
          <p:cNvCxnSpPr/>
          <p:nvPr/>
        </p:nvCxnSpPr>
        <p:spPr>
          <a:xfrm>
            <a:off x="3913544" y="3598364"/>
            <a:ext cx="0" cy="299720"/>
          </a:xfrm>
          <a:prstGeom prst="line">
            <a:avLst/>
          </a:prstGeom>
          <a:noFill/>
          <a:ln w="12700" cap="flat" cmpd="sng" algn="ctr">
            <a:solidFill>
              <a:srgbClr val="1F3B92"/>
            </a:solidFill>
            <a:prstDash val="sysDash"/>
          </a:ln>
          <a:effectLst/>
        </p:spPr>
      </p:cxnSp>
      <p:cxnSp>
        <p:nvCxnSpPr>
          <p:cNvPr id="49" name="Straight Connector 48"/>
          <p:cNvCxnSpPr/>
          <p:nvPr/>
        </p:nvCxnSpPr>
        <p:spPr>
          <a:xfrm>
            <a:off x="4404753" y="3598363"/>
            <a:ext cx="0" cy="764286"/>
          </a:xfrm>
          <a:prstGeom prst="line">
            <a:avLst/>
          </a:prstGeom>
          <a:noFill/>
          <a:ln w="12700" cap="flat" cmpd="sng" algn="ctr">
            <a:solidFill>
              <a:srgbClr val="1F3B92"/>
            </a:solidFill>
            <a:prstDash val="sysDash"/>
          </a:ln>
          <a:effectLst/>
        </p:spPr>
      </p:cxnSp>
      <p:cxnSp>
        <p:nvCxnSpPr>
          <p:cNvPr id="50" name="Straight Connector 49"/>
          <p:cNvCxnSpPr/>
          <p:nvPr/>
        </p:nvCxnSpPr>
        <p:spPr>
          <a:xfrm>
            <a:off x="4904285" y="3598364"/>
            <a:ext cx="0" cy="299720"/>
          </a:xfrm>
          <a:prstGeom prst="line">
            <a:avLst/>
          </a:prstGeom>
          <a:noFill/>
          <a:ln w="12700" cap="flat" cmpd="sng" algn="ctr">
            <a:solidFill>
              <a:srgbClr val="1F3B92"/>
            </a:solidFill>
            <a:prstDash val="sysDash"/>
          </a:ln>
          <a:effectLst/>
        </p:spPr>
      </p:cxnSp>
      <p:cxnSp>
        <p:nvCxnSpPr>
          <p:cNvPr id="51" name="Straight Connector 50"/>
          <p:cNvCxnSpPr/>
          <p:nvPr/>
        </p:nvCxnSpPr>
        <p:spPr>
          <a:xfrm>
            <a:off x="5903352" y="3598364"/>
            <a:ext cx="0" cy="299720"/>
          </a:xfrm>
          <a:prstGeom prst="line">
            <a:avLst/>
          </a:prstGeom>
          <a:noFill/>
          <a:ln w="12700" cap="flat" cmpd="sng" algn="ctr">
            <a:solidFill>
              <a:srgbClr val="1F3B92"/>
            </a:solidFill>
            <a:prstDash val="sysDash"/>
          </a:ln>
          <a:effectLst/>
        </p:spPr>
      </p:cxnSp>
      <p:cxnSp>
        <p:nvCxnSpPr>
          <p:cNvPr id="52" name="Straight Connector 51"/>
          <p:cNvCxnSpPr/>
          <p:nvPr/>
        </p:nvCxnSpPr>
        <p:spPr>
          <a:xfrm>
            <a:off x="7876509" y="3598364"/>
            <a:ext cx="0" cy="299720"/>
          </a:xfrm>
          <a:prstGeom prst="line">
            <a:avLst/>
          </a:prstGeom>
          <a:noFill/>
          <a:ln w="12700" cap="flat" cmpd="sng" algn="ctr">
            <a:solidFill>
              <a:srgbClr val="1F3B92"/>
            </a:solidFill>
            <a:prstDash val="sysDash"/>
          </a:ln>
          <a:effectLst/>
        </p:spPr>
      </p:cxnSp>
      <p:cxnSp>
        <p:nvCxnSpPr>
          <p:cNvPr id="53" name="Straight Connector 52"/>
          <p:cNvCxnSpPr/>
          <p:nvPr/>
        </p:nvCxnSpPr>
        <p:spPr>
          <a:xfrm>
            <a:off x="8867250" y="3598364"/>
            <a:ext cx="0" cy="299720"/>
          </a:xfrm>
          <a:prstGeom prst="line">
            <a:avLst/>
          </a:prstGeom>
          <a:noFill/>
          <a:ln w="12700" cap="flat" cmpd="sng" algn="ctr">
            <a:solidFill>
              <a:srgbClr val="1F3B92"/>
            </a:solidFill>
            <a:prstDash val="sysDash"/>
          </a:ln>
          <a:effectLst/>
        </p:spPr>
      </p:cxnSp>
      <p:cxnSp>
        <p:nvCxnSpPr>
          <p:cNvPr id="54" name="Straight Connector 53"/>
          <p:cNvCxnSpPr/>
          <p:nvPr/>
        </p:nvCxnSpPr>
        <p:spPr>
          <a:xfrm>
            <a:off x="2423270" y="3598364"/>
            <a:ext cx="0" cy="539496"/>
          </a:xfrm>
          <a:prstGeom prst="line">
            <a:avLst/>
          </a:prstGeom>
          <a:noFill/>
          <a:ln w="12700" cap="flat" cmpd="sng" algn="ctr">
            <a:solidFill>
              <a:srgbClr val="1F3B92"/>
            </a:solidFill>
            <a:prstDash val="sysDash"/>
          </a:ln>
          <a:effectLst/>
        </p:spPr>
      </p:cxnSp>
      <p:sp>
        <p:nvSpPr>
          <p:cNvPr id="55" name="Rectangle 54"/>
          <p:cNvSpPr/>
          <p:nvPr/>
        </p:nvSpPr>
        <p:spPr>
          <a:xfrm>
            <a:off x="8384369" y="3891840"/>
            <a:ext cx="840884" cy="674371"/>
          </a:xfrm>
          <a:prstGeom prst="rect">
            <a:avLst/>
          </a:prstGeom>
          <a:noFill/>
          <a:ln w="9525" cap="flat" cmpd="sng" algn="ctr">
            <a:solidFill>
              <a:srgbClr val="1F3B9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7451907" y="3891840"/>
            <a:ext cx="840884" cy="482882"/>
          </a:xfrm>
          <a:prstGeom prst="rect">
            <a:avLst/>
          </a:prstGeom>
          <a:noFill/>
          <a:ln w="9525" cap="flat" cmpd="sng" algn="ctr">
            <a:solidFill>
              <a:srgbClr val="1F3B9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5453772" y="3891840"/>
            <a:ext cx="1032369" cy="391302"/>
          </a:xfrm>
          <a:prstGeom prst="rect">
            <a:avLst/>
          </a:prstGeom>
          <a:noFill/>
          <a:ln w="9525" cap="flat" cmpd="sng" algn="ctr">
            <a:solidFill>
              <a:srgbClr val="1F3B9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4479682" y="3891840"/>
            <a:ext cx="915811" cy="391302"/>
          </a:xfrm>
          <a:prstGeom prst="rect">
            <a:avLst/>
          </a:prstGeom>
          <a:noFill/>
          <a:ln w="9525" cap="flat" cmpd="sng" algn="ctr">
            <a:solidFill>
              <a:srgbClr val="1F3B9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472290" y="3891840"/>
            <a:ext cx="874183" cy="391302"/>
          </a:xfrm>
          <a:prstGeom prst="rect">
            <a:avLst/>
          </a:prstGeom>
          <a:noFill/>
          <a:ln w="9525" cap="flat" cmpd="sng" algn="ctr">
            <a:solidFill>
              <a:srgbClr val="1F3B9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722057" y="4374723"/>
            <a:ext cx="1365392" cy="774276"/>
          </a:xfrm>
          <a:prstGeom prst="rect">
            <a:avLst/>
          </a:prstGeom>
          <a:noFill/>
          <a:ln w="9525" cap="flat" cmpd="sng" algn="ctr">
            <a:solidFill>
              <a:srgbClr val="1F3B9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1524106" y="3835316"/>
            <a:ext cx="824233" cy="249766"/>
          </a:xfrm>
          <a:prstGeom prst="rect">
            <a:avLst/>
          </a:prstGeom>
          <a:noFill/>
          <a:ln w="9525" cap="flat" cmpd="sng" algn="ctr">
            <a:solidFill>
              <a:srgbClr val="1F3B9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1948712" y="4141606"/>
            <a:ext cx="949115" cy="1232182"/>
          </a:xfrm>
          <a:prstGeom prst="rect">
            <a:avLst/>
          </a:prstGeom>
          <a:noFill/>
          <a:ln w="9525" cap="flat" cmpd="sng" algn="ctr">
            <a:solidFill>
              <a:srgbClr val="1F3B9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995234" y="4141607"/>
            <a:ext cx="824234" cy="97200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299547" y="3214787"/>
            <a:ext cx="9144000" cy="76200"/>
          </a:xfrm>
          <a:prstGeom prst="rect">
            <a:avLst/>
          </a:prstGeom>
          <a:solidFill>
            <a:srgbClr val="F6921E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graphicFrame>
        <p:nvGraphicFramePr>
          <p:cNvPr id="65" name="Table 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2713812"/>
              </p:ext>
            </p:extLst>
          </p:nvPr>
        </p:nvGraphicFramePr>
        <p:xfrm>
          <a:off x="694097" y="1364398"/>
          <a:ext cx="8422633" cy="293482"/>
        </p:xfrm>
        <a:graphic>
          <a:graphicData uri="http://schemas.openxmlformats.org/drawingml/2006/table">
            <a:tbl>
              <a:tblPr/>
              <a:tblGrid>
                <a:gridCol w="1981796"/>
                <a:gridCol w="2477245"/>
                <a:gridCol w="1981796"/>
                <a:gridCol w="1981796"/>
              </a:tblGrid>
              <a:tr h="1264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600" b="1" dirty="0" smtClean="0">
                          <a:solidFill>
                            <a:schemeClr val="accent2"/>
                          </a:solidFill>
                        </a:rPr>
                        <a:t>JUNE</a:t>
                      </a:r>
                      <a:endParaRPr lang="en-US" sz="1600" b="1" dirty="0">
                        <a:solidFill>
                          <a:schemeClr val="accent2"/>
                        </a:solidFill>
                      </a:endParaRPr>
                    </a:p>
                  </a:txBody>
                  <a:tcPr marL="93585" marR="93585" marT="46792" marB="46792" anchor="ctr">
                    <a:lnL w="6350" cap="flat" cmpd="sng" algn="ctr">
                      <a:solidFill>
                        <a:srgbClr val="F6921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6921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6921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6921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600" b="1" dirty="0" smtClean="0">
                          <a:solidFill>
                            <a:schemeClr val="accent2"/>
                          </a:solidFill>
                        </a:rPr>
                        <a:t>JULY</a:t>
                      </a:r>
                      <a:endParaRPr lang="en-US" sz="1600" b="1" dirty="0">
                        <a:solidFill>
                          <a:schemeClr val="accent2"/>
                        </a:solidFill>
                      </a:endParaRPr>
                    </a:p>
                  </a:txBody>
                  <a:tcPr marL="93585" marR="93585" marT="46792" marB="46792" anchor="ctr">
                    <a:lnL w="6350" cap="flat" cmpd="sng" algn="ctr">
                      <a:solidFill>
                        <a:srgbClr val="F6921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6921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6921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6921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chemeClr val="accent2"/>
                          </a:solidFill>
                        </a:rPr>
                        <a:t>AUGUST</a:t>
                      </a:r>
                      <a:endParaRPr lang="en-US" sz="1600" b="1" dirty="0">
                        <a:solidFill>
                          <a:schemeClr val="accent2"/>
                        </a:solidFill>
                      </a:endParaRPr>
                    </a:p>
                  </a:txBody>
                  <a:tcPr marL="93585" marR="93585" marT="46792" marB="46792" anchor="ctr">
                    <a:lnL w="6350" cap="flat" cmpd="sng" algn="ctr">
                      <a:solidFill>
                        <a:srgbClr val="F6921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6921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6921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6921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chemeClr val="accent2"/>
                          </a:solidFill>
                        </a:rPr>
                        <a:t>SEPTEMBER</a:t>
                      </a:r>
                      <a:endParaRPr lang="en-US" sz="1600" b="1" dirty="0">
                        <a:solidFill>
                          <a:schemeClr val="accent2"/>
                        </a:solidFill>
                      </a:endParaRPr>
                    </a:p>
                  </a:txBody>
                  <a:tcPr marL="93585" marR="93585" marT="46792" marB="46792" anchor="ctr">
                    <a:lnL w="6350" cap="flat" cmpd="sng" algn="ctr">
                      <a:solidFill>
                        <a:srgbClr val="F6921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6921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6921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6921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6" name="Rectangle 65"/>
          <p:cNvSpPr>
            <a:spLocks noChangeArrowheads="1"/>
          </p:cNvSpPr>
          <p:nvPr/>
        </p:nvSpPr>
        <p:spPr bwMode="auto">
          <a:xfrm>
            <a:off x="2650156" y="188915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GB" sz="2400" b="0" dirty="0" smtClean="0">
                <a:solidFill>
                  <a:schemeClr val="tx2"/>
                </a:solidFill>
              </a:rPr>
              <a:t>High Level Milestones</a:t>
            </a:r>
            <a:endParaRPr lang="en-US" sz="2400" b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2934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Rectangle 2"/>
          <p:cNvSpPr>
            <a:spLocks noChangeArrowheads="1"/>
          </p:cNvSpPr>
          <p:nvPr/>
        </p:nvSpPr>
        <p:spPr bwMode="auto">
          <a:xfrm>
            <a:off x="2650156" y="188915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GB" sz="2400" b="0" dirty="0" smtClean="0">
                <a:solidFill>
                  <a:schemeClr val="tx2"/>
                </a:solidFill>
              </a:rPr>
              <a:t>Current View</a:t>
            </a:r>
            <a:endParaRPr lang="en-US" sz="2400" b="0" dirty="0">
              <a:solidFill>
                <a:schemeClr val="tx2"/>
              </a:solidFill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gray">
          <a:xfrm>
            <a:off x="474132" y="1744720"/>
            <a:ext cx="4413178" cy="4183114"/>
          </a:xfrm>
          <a:prstGeom prst="rect">
            <a:avLst/>
          </a:prstGeom>
          <a:noFill/>
          <a:ln w="12700" cmpd="sng">
            <a:solidFill>
              <a:srgbClr val="166EB5"/>
            </a:solidFill>
            <a:miter lim="800000"/>
            <a:headEnd/>
            <a:tailEnd/>
          </a:ln>
        </p:spPr>
        <p:txBody>
          <a:bodyPr vert="horz" wrap="square" lIns="182880" tIns="72000" rIns="182880" bIns="72000" numCol="1" anchor="t" anchorCtr="0" compatLnSpc="1">
            <a:prstTxWarp prst="textNoShape">
              <a:avLst/>
            </a:prstTxWarp>
            <a:noAutofit/>
          </a:bodyPr>
          <a:lstStyle>
            <a:lvl1pPr marL="276225" indent="-276225" algn="l" rtl="0" eaLnBrk="0" fontAlgn="base" hangingPunct="0">
              <a:spcBef>
                <a:spcPct val="80000"/>
              </a:spcBef>
              <a:spcAft>
                <a:spcPct val="0"/>
              </a:spcAft>
              <a:buClr>
                <a:srgbClr val="EFAA2D"/>
              </a:buClr>
              <a:buChar char="•"/>
              <a:defRPr sz="2000">
                <a:solidFill>
                  <a:srgbClr val="01406B"/>
                </a:solidFill>
                <a:latin typeface="Calibri" pitchFamily="34" charset="0"/>
                <a:ea typeface="+mn-ea"/>
                <a:cs typeface="+mn-cs"/>
              </a:defRPr>
            </a:lvl1pPr>
            <a:lvl2pPr marL="600075" indent="-322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EFAA2D"/>
              </a:buClr>
              <a:buFont typeface="Arial" charset="0"/>
              <a:buChar char="–"/>
              <a:defRPr>
                <a:solidFill>
                  <a:srgbClr val="01406B"/>
                </a:solidFill>
                <a:latin typeface="Calibri" pitchFamily="34" charset="0"/>
              </a:defRPr>
            </a:lvl2pPr>
            <a:lvl3pPr marL="933450" indent="-3317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AA2D"/>
              </a:buClr>
              <a:buChar char="•"/>
              <a:defRPr sz="1600">
                <a:solidFill>
                  <a:srgbClr val="01406B"/>
                </a:solidFill>
                <a:latin typeface="Calibri" pitchFamily="34" charset="0"/>
              </a:defRPr>
            </a:lvl3pPr>
            <a:lvl4pPr marL="1209675" indent="-2746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AA2D"/>
              </a:buClr>
              <a:buFont typeface="Trebuchet MS" pitchFamily="34" charset="0"/>
              <a:buChar char="–"/>
              <a:defRPr sz="1400">
                <a:solidFill>
                  <a:srgbClr val="01406B"/>
                </a:solidFill>
                <a:latin typeface="Calibri" pitchFamily="34" charset="0"/>
              </a:defRPr>
            </a:lvl4pPr>
            <a:lvl5pPr marL="25606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Font typeface="Trebuchet MS" pitchFamily="34" charset="0"/>
              <a:buChar char="»"/>
              <a:defRPr>
                <a:solidFill>
                  <a:srgbClr val="000000"/>
                </a:solidFill>
                <a:latin typeface="+mn-lt"/>
              </a:defRPr>
            </a:lvl5pPr>
            <a:lvl6pPr marL="3017838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Font typeface="Trebuchet MS" pitchFamily="34" charset="0"/>
              <a:buChar char="»"/>
              <a:defRPr>
                <a:solidFill>
                  <a:srgbClr val="000000"/>
                </a:solidFill>
                <a:latin typeface="+mn-lt"/>
              </a:defRPr>
            </a:lvl6pPr>
            <a:lvl7pPr marL="3475038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Font typeface="Trebuchet MS" pitchFamily="34" charset="0"/>
              <a:buChar char="»"/>
              <a:defRPr>
                <a:solidFill>
                  <a:srgbClr val="000000"/>
                </a:solidFill>
                <a:latin typeface="+mn-lt"/>
              </a:defRPr>
            </a:lvl7pPr>
            <a:lvl8pPr marL="3932238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Font typeface="Trebuchet MS" pitchFamily="34" charset="0"/>
              <a:buChar char="»"/>
              <a:defRPr>
                <a:solidFill>
                  <a:srgbClr val="000000"/>
                </a:solidFill>
                <a:latin typeface="+mn-lt"/>
              </a:defRPr>
            </a:lvl8pPr>
            <a:lvl9pPr marL="4389438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Font typeface="Trebuchet MS" pitchFamily="34" charset="0"/>
              <a:buChar char="»"/>
              <a:defRPr>
                <a:solidFill>
                  <a:srgbClr val="000000"/>
                </a:solidFill>
                <a:latin typeface="+mn-lt"/>
              </a:defRPr>
            </a:lvl9pPr>
          </a:lstStyle>
          <a:p>
            <a:pPr marL="276225" marR="0" lvl="0" indent="-27622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37022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Barclays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has undertaken an initiative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geared towards Simplifying the Technology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estate across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product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platforms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&amp; improve productivity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Calibri" pitchFamily="34" charset="0"/>
              <a:cs typeface="+mn-cs"/>
            </a:endParaRPr>
          </a:p>
          <a:p>
            <a:pPr marL="276225" marR="0" lvl="0" indent="-27622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37022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Focused on delivering 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customer &amp; colleague experiences across PCB through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automation.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Calibri" pitchFamily="34" charset="0"/>
              <a:cs typeface="+mn-cs"/>
            </a:endParaRPr>
          </a:p>
          <a:p>
            <a:pPr marL="276225" marR="0" lvl="0" indent="-276225" algn="l" defTabSz="914400" rtl="0" eaLnBrk="0" fontAlgn="base" latinLnBrk="0" hangingPunct="0">
              <a:lnSpc>
                <a:spcPct val="150000"/>
              </a:lnSpc>
              <a:spcBef>
                <a:spcPts val="0"/>
              </a:spcBef>
              <a:spcAft>
                <a:spcPts val="400"/>
              </a:spcAft>
              <a:buClr>
                <a:srgbClr val="F37022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Push button Environment commissioning to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reduce time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to market for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apps</a:t>
            </a:r>
          </a:p>
          <a:p>
            <a:pPr marL="276225" marR="0" lvl="0" indent="-276225" algn="l" defTabSz="914400" rtl="0" eaLnBrk="0" fontAlgn="base" latinLnBrk="0" hangingPunct="0">
              <a:lnSpc>
                <a:spcPct val="150000"/>
              </a:lnSpc>
              <a:spcBef>
                <a:spcPts val="0"/>
              </a:spcBef>
              <a:spcAft>
                <a:spcPts val="400"/>
              </a:spcAft>
              <a:buClr>
                <a:srgbClr val="F37022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Clear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vision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to improve development lifecycle from</a:t>
            </a:r>
          </a:p>
          <a:p>
            <a:pPr marL="516255" marR="0" lvl="2" indent="-18288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Lucida Grande"/>
              <a:buChar char="-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Quality &amp; Efficiency</a:t>
            </a:r>
          </a:p>
          <a:p>
            <a:pPr marL="516255" marR="0" lvl="2" indent="-18288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Lucida Grande"/>
              <a:buChar char="-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Robust Quality Management Tools</a:t>
            </a:r>
          </a:p>
          <a:p>
            <a:pPr marL="276225" marR="0" lvl="0" indent="-27622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37022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Objectives to reduce time &amp; effort to commission new environment, reduction in infra footprint</a:t>
            </a:r>
          </a:p>
          <a:p>
            <a:pPr marL="276225" marR="0" lvl="0" indent="-27622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37022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In summary, Barclays is looking at reduce infrastructure footprint, time &amp; effort. Focus on push button environment etc. 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Calibri" pitchFamily="34" charset="0"/>
              <a:cs typeface="+mn-cs"/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gray">
          <a:xfrm>
            <a:off x="474132" y="999655"/>
            <a:ext cx="4413178" cy="745066"/>
          </a:xfrm>
          <a:prstGeom prst="rect">
            <a:avLst/>
          </a:prstGeom>
          <a:solidFill>
            <a:srgbClr val="166EB5"/>
          </a:solidFill>
          <a:ln w="12700" cmpd="sng">
            <a:solidFill>
              <a:srgbClr val="166EB5"/>
            </a:solidFill>
            <a:miter lim="800000"/>
            <a:headEnd/>
            <a:tailEnd/>
          </a:ln>
        </p:spPr>
        <p:txBody>
          <a:bodyPr vert="horz" wrap="square" lIns="182880" tIns="27432" rIns="72000" bIns="27432" numCol="1" anchor="ctr" anchorCtr="0" compatLnSpc="1">
            <a:prstTxWarp prst="textNoShape">
              <a:avLst/>
            </a:prstTxWarp>
            <a:noAutofit/>
          </a:bodyPr>
          <a:lstStyle>
            <a:lvl1pPr marL="276225" indent="-276225" algn="l" rtl="0" eaLnBrk="0" fontAlgn="base" hangingPunct="0">
              <a:spcBef>
                <a:spcPct val="80000"/>
              </a:spcBef>
              <a:spcAft>
                <a:spcPct val="0"/>
              </a:spcAft>
              <a:buClr>
                <a:srgbClr val="EFAA2D"/>
              </a:buClr>
              <a:buChar char="•"/>
              <a:defRPr sz="2000">
                <a:solidFill>
                  <a:srgbClr val="01406B"/>
                </a:solidFill>
                <a:latin typeface="Calibri" pitchFamily="34" charset="0"/>
                <a:ea typeface="+mn-ea"/>
                <a:cs typeface="+mn-cs"/>
              </a:defRPr>
            </a:lvl1pPr>
            <a:lvl2pPr marL="600075" indent="-322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EFAA2D"/>
              </a:buClr>
              <a:buFont typeface="Arial" charset="0"/>
              <a:buChar char="–"/>
              <a:defRPr>
                <a:solidFill>
                  <a:srgbClr val="01406B"/>
                </a:solidFill>
                <a:latin typeface="Calibri" pitchFamily="34" charset="0"/>
              </a:defRPr>
            </a:lvl2pPr>
            <a:lvl3pPr marL="933450" indent="-3317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AA2D"/>
              </a:buClr>
              <a:buChar char="•"/>
              <a:defRPr sz="1600">
                <a:solidFill>
                  <a:srgbClr val="01406B"/>
                </a:solidFill>
                <a:latin typeface="Calibri" pitchFamily="34" charset="0"/>
              </a:defRPr>
            </a:lvl3pPr>
            <a:lvl4pPr marL="1209675" indent="-2746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AA2D"/>
              </a:buClr>
              <a:buFont typeface="Trebuchet MS" pitchFamily="34" charset="0"/>
              <a:buChar char="–"/>
              <a:defRPr sz="1400">
                <a:solidFill>
                  <a:srgbClr val="01406B"/>
                </a:solidFill>
                <a:latin typeface="Calibri" pitchFamily="34" charset="0"/>
              </a:defRPr>
            </a:lvl4pPr>
            <a:lvl5pPr marL="25606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Font typeface="Trebuchet MS" pitchFamily="34" charset="0"/>
              <a:buChar char="»"/>
              <a:defRPr>
                <a:solidFill>
                  <a:srgbClr val="000000"/>
                </a:solidFill>
                <a:latin typeface="+mn-lt"/>
              </a:defRPr>
            </a:lvl5pPr>
            <a:lvl6pPr marL="3017838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Font typeface="Trebuchet MS" pitchFamily="34" charset="0"/>
              <a:buChar char="»"/>
              <a:defRPr>
                <a:solidFill>
                  <a:srgbClr val="000000"/>
                </a:solidFill>
                <a:latin typeface="+mn-lt"/>
              </a:defRPr>
            </a:lvl6pPr>
            <a:lvl7pPr marL="3475038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Font typeface="Trebuchet MS" pitchFamily="34" charset="0"/>
              <a:buChar char="»"/>
              <a:defRPr>
                <a:solidFill>
                  <a:srgbClr val="000000"/>
                </a:solidFill>
                <a:latin typeface="+mn-lt"/>
              </a:defRPr>
            </a:lvl7pPr>
            <a:lvl8pPr marL="3932238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Font typeface="Trebuchet MS" pitchFamily="34" charset="0"/>
              <a:buChar char="»"/>
              <a:defRPr>
                <a:solidFill>
                  <a:srgbClr val="000000"/>
                </a:solidFill>
                <a:latin typeface="+mn-lt"/>
              </a:defRPr>
            </a:lvl8pPr>
            <a:lvl9pPr marL="4389438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Font typeface="Trebuchet MS" pitchFamily="34" charset="0"/>
              <a:buChar char="»"/>
              <a:defRPr>
                <a:solidFill>
                  <a:srgbClr val="000000"/>
                </a:solidFill>
                <a:latin typeface="+mn-lt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37022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Understanding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of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the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Problem Statement 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5060733" y="1744720"/>
            <a:ext cx="4419602" cy="4183114"/>
          </a:xfrm>
          <a:prstGeom prst="rect">
            <a:avLst/>
          </a:prstGeom>
          <a:noFill/>
          <a:ln w="12700" cmpd="sng">
            <a:solidFill>
              <a:srgbClr val="1F3B92"/>
            </a:solidFill>
            <a:miter lim="800000"/>
            <a:headEnd/>
            <a:tailEnd/>
          </a:ln>
        </p:spPr>
        <p:txBody>
          <a:bodyPr vert="horz" wrap="square" lIns="182880" tIns="72000" rIns="182880" bIns="72000" numCol="1" anchor="t" anchorCtr="0" compatLnSpc="1">
            <a:prstTxWarp prst="textNoShape">
              <a:avLst/>
            </a:prstTxWarp>
            <a:noAutofit/>
          </a:bodyPr>
          <a:lstStyle>
            <a:lvl1pPr marL="276225" indent="-276225" algn="l" rtl="0" eaLnBrk="0" fontAlgn="base" hangingPunct="0">
              <a:spcBef>
                <a:spcPct val="80000"/>
              </a:spcBef>
              <a:spcAft>
                <a:spcPct val="0"/>
              </a:spcAft>
              <a:buClr>
                <a:srgbClr val="EFAA2D"/>
              </a:buClr>
              <a:buChar char="•"/>
              <a:defRPr sz="2000">
                <a:solidFill>
                  <a:srgbClr val="01406B"/>
                </a:solidFill>
                <a:latin typeface="Calibri" pitchFamily="34" charset="0"/>
                <a:ea typeface="+mn-ea"/>
                <a:cs typeface="+mn-cs"/>
              </a:defRPr>
            </a:lvl1pPr>
            <a:lvl2pPr marL="600075" indent="-322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EFAA2D"/>
              </a:buClr>
              <a:buFont typeface="Arial" charset="0"/>
              <a:buChar char="–"/>
              <a:defRPr>
                <a:solidFill>
                  <a:srgbClr val="01406B"/>
                </a:solidFill>
                <a:latin typeface="Calibri" pitchFamily="34" charset="0"/>
              </a:defRPr>
            </a:lvl2pPr>
            <a:lvl3pPr marL="933450" indent="-3317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AA2D"/>
              </a:buClr>
              <a:buChar char="•"/>
              <a:defRPr sz="1600">
                <a:solidFill>
                  <a:srgbClr val="01406B"/>
                </a:solidFill>
                <a:latin typeface="Calibri" pitchFamily="34" charset="0"/>
              </a:defRPr>
            </a:lvl3pPr>
            <a:lvl4pPr marL="1209675" indent="-2746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AA2D"/>
              </a:buClr>
              <a:buFont typeface="Trebuchet MS" pitchFamily="34" charset="0"/>
              <a:buChar char="–"/>
              <a:defRPr sz="1400">
                <a:solidFill>
                  <a:srgbClr val="01406B"/>
                </a:solidFill>
                <a:latin typeface="Calibri" pitchFamily="34" charset="0"/>
              </a:defRPr>
            </a:lvl4pPr>
            <a:lvl5pPr marL="25606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Font typeface="Trebuchet MS" pitchFamily="34" charset="0"/>
              <a:buChar char="»"/>
              <a:defRPr>
                <a:solidFill>
                  <a:srgbClr val="000000"/>
                </a:solidFill>
                <a:latin typeface="+mn-lt"/>
              </a:defRPr>
            </a:lvl5pPr>
            <a:lvl6pPr marL="3017838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Font typeface="Trebuchet MS" pitchFamily="34" charset="0"/>
              <a:buChar char="»"/>
              <a:defRPr>
                <a:solidFill>
                  <a:srgbClr val="000000"/>
                </a:solidFill>
                <a:latin typeface="+mn-lt"/>
              </a:defRPr>
            </a:lvl6pPr>
            <a:lvl7pPr marL="3475038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Font typeface="Trebuchet MS" pitchFamily="34" charset="0"/>
              <a:buChar char="»"/>
              <a:defRPr>
                <a:solidFill>
                  <a:srgbClr val="000000"/>
                </a:solidFill>
                <a:latin typeface="+mn-lt"/>
              </a:defRPr>
            </a:lvl7pPr>
            <a:lvl8pPr marL="3932238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Font typeface="Trebuchet MS" pitchFamily="34" charset="0"/>
              <a:buChar char="»"/>
              <a:defRPr>
                <a:solidFill>
                  <a:srgbClr val="000000"/>
                </a:solidFill>
                <a:latin typeface="+mn-lt"/>
              </a:defRPr>
            </a:lvl8pPr>
            <a:lvl9pPr marL="4389438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Font typeface="Trebuchet MS" pitchFamily="34" charset="0"/>
              <a:buChar char="»"/>
              <a:defRPr>
                <a:solidFill>
                  <a:srgbClr val="000000"/>
                </a:solidFill>
                <a:latin typeface="+mn-lt"/>
              </a:defRPr>
            </a:lvl9pPr>
          </a:lstStyle>
          <a:p>
            <a:pPr marL="276225" marR="0" lvl="0" indent="-27622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37022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A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lean approach by adopting agile delivery model: </a:t>
            </a:r>
          </a:p>
          <a:p>
            <a:pPr marL="600075" marR="0" lvl="1" indent="-322263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Seamless integration with application management and DevOps services </a:t>
            </a:r>
          </a:p>
          <a:p>
            <a:pPr marL="600075" marR="0" lvl="1" indent="-322263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Leveraging purpose built platform to unlock efficiency and drive lower cost</a:t>
            </a:r>
          </a:p>
          <a:p>
            <a:pPr marL="276225" marR="0" lvl="0" indent="-27622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37022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Deliver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the solution in an iterative manner with regular show-tell sessions for user feedback</a:t>
            </a:r>
          </a:p>
          <a:p>
            <a:pPr marL="600075" marR="0" lvl="1" indent="-322263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Analyze, Identify Key areas &amp; strategize the plan.</a:t>
            </a:r>
          </a:p>
          <a:p>
            <a:pPr marL="600075" marR="0" lvl="1" indent="-322263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Enable and execute leaner and smarter model</a:t>
            </a:r>
          </a:p>
          <a:p>
            <a:pPr marL="600075" marR="0" lvl="1" indent="-322263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Focus on measurement, reporting &amp; rolling out to other projects</a:t>
            </a:r>
          </a:p>
          <a:p>
            <a:pPr marL="276225" marR="0" lvl="0" indent="-27622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37022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Deploy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a lean delivery approach &amp; not disturbing the current environment</a:t>
            </a:r>
          </a:p>
          <a:p>
            <a:pPr marL="276225" marR="0" lvl="0" indent="-27622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37022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Use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Best Practice tools &amp;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dashboard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for enabling automation and reducing cost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 pitchFamily="34" charset="0"/>
                <a:cs typeface="+mn-cs"/>
              </a:rPr>
              <a:t>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Calibri" pitchFamily="34" charset="0"/>
              <a:cs typeface="+mn-cs"/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 bwMode="gray">
          <a:xfrm>
            <a:off x="5065986" y="999655"/>
            <a:ext cx="4419602" cy="745066"/>
          </a:xfrm>
          <a:prstGeom prst="rect">
            <a:avLst/>
          </a:prstGeom>
          <a:solidFill>
            <a:srgbClr val="1F3B92"/>
          </a:solidFill>
          <a:ln w="12700" cmpd="sng">
            <a:solidFill>
              <a:srgbClr val="1F3B92"/>
            </a:solidFill>
            <a:miter lim="800000"/>
            <a:headEnd/>
            <a:tailEnd/>
          </a:ln>
        </p:spPr>
        <p:txBody>
          <a:bodyPr vert="horz" wrap="square" lIns="182880" tIns="27432" rIns="72000" bIns="27432" numCol="1" anchor="ctr" anchorCtr="0" compatLnSpc="1">
            <a:prstTxWarp prst="textNoShape">
              <a:avLst/>
            </a:prstTxWarp>
            <a:noAutofit/>
          </a:bodyPr>
          <a:lstStyle>
            <a:lvl1pPr marL="276225" indent="-276225" algn="l" rtl="0" eaLnBrk="0" fontAlgn="base" hangingPunct="0">
              <a:spcBef>
                <a:spcPct val="80000"/>
              </a:spcBef>
              <a:spcAft>
                <a:spcPct val="0"/>
              </a:spcAft>
              <a:buClr>
                <a:srgbClr val="EFAA2D"/>
              </a:buClr>
              <a:buChar char="•"/>
              <a:defRPr sz="2000">
                <a:solidFill>
                  <a:srgbClr val="01406B"/>
                </a:solidFill>
                <a:latin typeface="Calibri" pitchFamily="34" charset="0"/>
                <a:ea typeface="+mn-ea"/>
                <a:cs typeface="+mn-cs"/>
              </a:defRPr>
            </a:lvl1pPr>
            <a:lvl2pPr marL="600075" indent="-322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EFAA2D"/>
              </a:buClr>
              <a:buFont typeface="Arial" charset="0"/>
              <a:buChar char="–"/>
              <a:defRPr>
                <a:solidFill>
                  <a:srgbClr val="01406B"/>
                </a:solidFill>
                <a:latin typeface="Calibri" pitchFamily="34" charset="0"/>
              </a:defRPr>
            </a:lvl2pPr>
            <a:lvl3pPr marL="933450" indent="-3317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AA2D"/>
              </a:buClr>
              <a:buChar char="•"/>
              <a:defRPr sz="1600">
                <a:solidFill>
                  <a:srgbClr val="01406B"/>
                </a:solidFill>
                <a:latin typeface="Calibri" pitchFamily="34" charset="0"/>
              </a:defRPr>
            </a:lvl3pPr>
            <a:lvl4pPr marL="1209675" indent="-2746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AA2D"/>
              </a:buClr>
              <a:buFont typeface="Trebuchet MS" pitchFamily="34" charset="0"/>
              <a:buChar char="–"/>
              <a:defRPr sz="1400">
                <a:solidFill>
                  <a:srgbClr val="01406B"/>
                </a:solidFill>
                <a:latin typeface="Calibri" pitchFamily="34" charset="0"/>
              </a:defRPr>
            </a:lvl4pPr>
            <a:lvl5pPr marL="25606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Font typeface="Trebuchet MS" pitchFamily="34" charset="0"/>
              <a:buChar char="»"/>
              <a:defRPr>
                <a:solidFill>
                  <a:srgbClr val="000000"/>
                </a:solidFill>
                <a:latin typeface="+mn-lt"/>
              </a:defRPr>
            </a:lvl5pPr>
            <a:lvl6pPr marL="3017838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Font typeface="Trebuchet MS" pitchFamily="34" charset="0"/>
              <a:buChar char="»"/>
              <a:defRPr>
                <a:solidFill>
                  <a:srgbClr val="000000"/>
                </a:solidFill>
                <a:latin typeface="+mn-lt"/>
              </a:defRPr>
            </a:lvl6pPr>
            <a:lvl7pPr marL="3475038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Font typeface="Trebuchet MS" pitchFamily="34" charset="0"/>
              <a:buChar char="»"/>
              <a:defRPr>
                <a:solidFill>
                  <a:srgbClr val="000000"/>
                </a:solidFill>
                <a:latin typeface="+mn-lt"/>
              </a:defRPr>
            </a:lvl7pPr>
            <a:lvl8pPr marL="3932238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Font typeface="Trebuchet MS" pitchFamily="34" charset="0"/>
              <a:buChar char="»"/>
              <a:defRPr>
                <a:solidFill>
                  <a:srgbClr val="000000"/>
                </a:solidFill>
                <a:latin typeface="+mn-lt"/>
              </a:defRPr>
            </a:lvl8pPr>
            <a:lvl9pPr marL="4389438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Font typeface="Trebuchet MS" pitchFamily="34" charset="0"/>
              <a:buChar char="»"/>
              <a:defRPr>
                <a:solidFill>
                  <a:srgbClr val="000000"/>
                </a:solidFill>
                <a:latin typeface="+mn-lt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37022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Summary of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Solution</a:t>
            </a:r>
            <a:r>
              <a:rPr kumimoji="0" lang="en-GB" sz="1400" b="0" i="0" u="none" strike="noStrike" kern="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Approach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409170" y="6037058"/>
            <a:ext cx="9125312" cy="57845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400" i="1" dirty="0" smtClean="0">
                <a:solidFill>
                  <a:schemeClr val="bg1"/>
                </a:solidFill>
              </a:rPr>
              <a:t>Highlight key problem area</a:t>
            </a:r>
            <a:endParaRPr lang="en-GB" sz="14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7283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auto">
          <a:xfrm>
            <a:off x="434619" y="812727"/>
            <a:ext cx="9125312" cy="57845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400" i="1" dirty="0">
                <a:solidFill>
                  <a:srgbClr val="FFFFFF"/>
                </a:solidFill>
              </a:rPr>
              <a:t>Enable PCB business growth through the </a:t>
            </a:r>
            <a:r>
              <a:rPr lang="en-GB" sz="1400" i="1" dirty="0" smtClean="0">
                <a:solidFill>
                  <a:srgbClr val="FFFFFF"/>
                </a:solidFill>
              </a:rPr>
              <a:t>creation of  </a:t>
            </a:r>
            <a:r>
              <a:rPr lang="en-GB" sz="1400" i="1" dirty="0">
                <a:solidFill>
                  <a:srgbClr val="FFFFFF"/>
                </a:solidFill>
              </a:rPr>
              <a:t>Automated services, driving a digital revolution that is Customer &amp; Colleague led and focused on Optimisation</a:t>
            </a:r>
          </a:p>
        </p:txBody>
      </p:sp>
      <p:sp>
        <p:nvSpPr>
          <p:cNvPr id="13" name="Rounded Rectangle 12"/>
          <p:cNvSpPr/>
          <p:nvPr/>
        </p:nvSpPr>
        <p:spPr bwMode="auto">
          <a:xfrm>
            <a:off x="1587649" y="1832023"/>
            <a:ext cx="7507387" cy="58541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200" dirty="0">
                <a:solidFill>
                  <a:srgbClr val="FFFFFF"/>
                </a:solidFill>
                <a:latin typeface="Expert Sans Regular"/>
                <a:cs typeface="Arial"/>
              </a:rPr>
              <a:t>Enable PCB business growth through the creation of world-class Technology services, driving a digital revolution that is Customer &amp; Colleague led and focused on Simplificatio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95011" y="1832023"/>
            <a:ext cx="8047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200" dirty="0">
                <a:solidFill>
                  <a:srgbClr val="000000"/>
                </a:solidFill>
                <a:latin typeface="Expert Sans Regular"/>
                <a:cs typeface="Arial"/>
              </a:rPr>
              <a:t>Main Effor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00132" y="2600239"/>
            <a:ext cx="3767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200" dirty="0">
                <a:solidFill>
                  <a:srgbClr val="000000"/>
                </a:solidFill>
                <a:latin typeface="Expert Sans Regular"/>
                <a:cs typeface="Arial"/>
              </a:rPr>
              <a:t>What</a:t>
            </a:r>
          </a:p>
        </p:txBody>
      </p:sp>
      <p:sp>
        <p:nvSpPr>
          <p:cNvPr id="16" name="Rounded Rectangle 15"/>
          <p:cNvSpPr/>
          <p:nvPr/>
        </p:nvSpPr>
        <p:spPr bwMode="auto">
          <a:xfrm>
            <a:off x="3119737" y="2593462"/>
            <a:ext cx="1379030" cy="1464367"/>
          </a:xfrm>
          <a:prstGeom prst="round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Fundamentally transform the way we work to achieve a 25% improved productivity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000" b="0" dirty="0">
              <a:solidFill>
                <a:srgbClr val="FFFFFF"/>
              </a:solidFill>
              <a:latin typeface="Expert Sans Regular"/>
              <a:cs typeface="Arial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4651826" y="2600239"/>
            <a:ext cx="1379030" cy="1458398"/>
          </a:xfrm>
          <a:prstGeom prst="round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Deliver a step change in customer &amp; colleague experiences across PCB through mass automation of journeys, instilling a culture of continuous improvement</a:t>
            </a:r>
          </a:p>
        </p:txBody>
      </p:sp>
      <p:sp>
        <p:nvSpPr>
          <p:cNvPr id="18" name="Rounded Rectangle 17"/>
          <p:cNvSpPr/>
          <p:nvPr/>
        </p:nvSpPr>
        <p:spPr bwMode="auto">
          <a:xfrm>
            <a:off x="1587648" y="2600239"/>
            <a:ext cx="1379030" cy="1458399"/>
          </a:xfrm>
          <a:prstGeom prst="round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Simplify our  Technology estate across 9 product platforms by placing big bets on strategic technology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000" b="0" dirty="0">
              <a:solidFill>
                <a:srgbClr val="FFFFFF"/>
              </a:solidFill>
              <a:latin typeface="Expert Sans Regular"/>
              <a:cs typeface="Arial"/>
            </a:endParaRPr>
          </a:p>
        </p:txBody>
      </p:sp>
      <p:sp>
        <p:nvSpPr>
          <p:cNvPr id="19" name="Rounded Rectangle 18"/>
          <p:cNvSpPr/>
          <p:nvPr/>
        </p:nvSpPr>
        <p:spPr bwMode="auto">
          <a:xfrm>
            <a:off x="6183914" y="2600239"/>
            <a:ext cx="1379030" cy="1458399"/>
          </a:xfrm>
          <a:prstGeom prst="round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Deliver a consistent, automated and effective control environment aligned to our risk appetite</a:t>
            </a:r>
          </a:p>
        </p:txBody>
      </p:sp>
      <p:sp>
        <p:nvSpPr>
          <p:cNvPr id="20" name="Rounded Rectangle 19"/>
          <p:cNvSpPr/>
          <p:nvPr/>
        </p:nvSpPr>
        <p:spPr bwMode="auto">
          <a:xfrm>
            <a:off x="7716004" y="2600239"/>
            <a:ext cx="1379030" cy="1458398"/>
          </a:xfrm>
          <a:prstGeom prst="round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Market leader in multi-channel digital client experiences</a:t>
            </a:r>
          </a:p>
        </p:txBody>
      </p:sp>
      <p:sp>
        <p:nvSpPr>
          <p:cNvPr id="21" name="Oval 20"/>
          <p:cNvSpPr/>
          <p:nvPr/>
        </p:nvSpPr>
        <p:spPr bwMode="auto">
          <a:xfrm>
            <a:off x="1488763" y="2497561"/>
            <a:ext cx="23261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1</a:t>
            </a:r>
          </a:p>
        </p:txBody>
      </p:sp>
      <p:sp>
        <p:nvSpPr>
          <p:cNvPr id="22" name="Oval 21"/>
          <p:cNvSpPr/>
          <p:nvPr/>
        </p:nvSpPr>
        <p:spPr bwMode="auto">
          <a:xfrm>
            <a:off x="3012298" y="2497561"/>
            <a:ext cx="23261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2</a:t>
            </a:r>
          </a:p>
        </p:txBody>
      </p:sp>
      <p:sp>
        <p:nvSpPr>
          <p:cNvPr id="23" name="Oval 22"/>
          <p:cNvSpPr/>
          <p:nvPr/>
        </p:nvSpPr>
        <p:spPr bwMode="auto">
          <a:xfrm>
            <a:off x="4510639" y="2497561"/>
            <a:ext cx="23261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3</a:t>
            </a:r>
          </a:p>
        </p:txBody>
      </p:sp>
      <p:sp>
        <p:nvSpPr>
          <p:cNvPr id="24" name="Oval 23"/>
          <p:cNvSpPr/>
          <p:nvPr/>
        </p:nvSpPr>
        <p:spPr bwMode="auto">
          <a:xfrm>
            <a:off x="6069136" y="2497561"/>
            <a:ext cx="23261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4</a:t>
            </a:r>
          </a:p>
        </p:txBody>
      </p:sp>
      <p:sp>
        <p:nvSpPr>
          <p:cNvPr id="25" name="Oval 24"/>
          <p:cNvSpPr/>
          <p:nvPr/>
        </p:nvSpPr>
        <p:spPr bwMode="auto">
          <a:xfrm>
            <a:off x="7597842" y="2497561"/>
            <a:ext cx="23261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5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36047" y="4450035"/>
            <a:ext cx="34144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200" dirty="0">
                <a:solidFill>
                  <a:srgbClr val="000000"/>
                </a:solidFill>
                <a:latin typeface="Expert Sans Regular"/>
                <a:cs typeface="Arial"/>
              </a:rPr>
              <a:t>KPIs</a:t>
            </a:r>
          </a:p>
        </p:txBody>
      </p:sp>
      <p:graphicFrame>
        <p:nvGraphicFramePr>
          <p:cNvPr id="27" name="Content Placeholder 5"/>
          <p:cNvGraphicFramePr>
            <a:graphicFrameLocks/>
          </p:cNvGraphicFramePr>
          <p:nvPr>
            <p:extLst/>
          </p:nvPr>
        </p:nvGraphicFramePr>
        <p:xfrm>
          <a:off x="1636780" y="4606101"/>
          <a:ext cx="7416825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18533"/>
                <a:gridCol w="4499612"/>
                <a:gridCol w="1198680"/>
              </a:tblGrid>
              <a:tr h="225000">
                <a:tc>
                  <a:txBody>
                    <a:bodyPr/>
                    <a:lstStyle/>
                    <a:p>
                      <a:endParaRPr lang="en-GB" sz="9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070" rtl="0" eaLnBrk="1" latinLnBrk="0" hangingPunct="1"/>
                      <a:r>
                        <a:rPr lang="en-GB" sz="900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Increase Tester Productivity</a:t>
                      </a:r>
                      <a:endParaRPr lang="en-GB" sz="900" kern="1200" baseline="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070" rtl="0" eaLnBrk="1" latinLnBrk="0" hangingPunct="1"/>
                      <a:r>
                        <a:rPr lang="en-GB" sz="9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&lt;5%</a:t>
                      </a:r>
                      <a:endParaRPr lang="en-GB" sz="900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25000">
                <a:tc>
                  <a:txBody>
                    <a:bodyPr/>
                    <a:lstStyle/>
                    <a:p>
                      <a:endParaRPr lang="en-GB" sz="9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dirty="0" smtClean="0">
                          <a:latin typeface="Arial" pitchFamily="34" charset="0"/>
                          <a:cs typeface="Arial" pitchFamily="34" charset="0"/>
                        </a:rPr>
                        <a:t>Increase Environment Availability</a:t>
                      </a:r>
                      <a:endParaRPr lang="en-GB" sz="9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dirty="0" smtClean="0">
                          <a:latin typeface="Arial" pitchFamily="34" charset="0"/>
                          <a:cs typeface="Arial" pitchFamily="34" charset="0"/>
                        </a:rPr>
                        <a:t>&gt;95%</a:t>
                      </a:r>
                      <a:endParaRPr lang="en-GB" sz="9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5000">
                <a:tc>
                  <a:txBody>
                    <a:bodyPr/>
                    <a:lstStyle/>
                    <a:p>
                      <a:endParaRPr lang="en-GB" sz="9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aseline="0" dirty="0" smtClean="0">
                          <a:latin typeface="Arial" pitchFamily="34" charset="0"/>
                          <a:cs typeface="Arial" pitchFamily="34" charset="0"/>
                        </a:rPr>
                        <a:t>Drive Up Release Automa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dirty="0" smtClean="0">
                          <a:latin typeface="Arial" pitchFamily="34" charset="0"/>
                          <a:cs typeface="Arial" pitchFamily="34" charset="0"/>
                        </a:rPr>
                        <a:t>+20%</a:t>
                      </a:r>
                      <a:endParaRPr lang="en-GB" sz="9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25000">
                <a:tc>
                  <a:txBody>
                    <a:bodyPr/>
                    <a:lstStyle/>
                    <a:p>
                      <a:endParaRPr lang="en-GB" sz="9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aseline="0" dirty="0" smtClean="0">
                          <a:latin typeface="Arial" pitchFamily="34" charset="0"/>
                          <a:cs typeface="Arial" pitchFamily="34" charset="0"/>
                        </a:rPr>
                        <a:t>Reduce Environment provisioning elapsed time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dirty="0" smtClean="0">
                          <a:latin typeface="Arial" pitchFamily="34" charset="0"/>
                          <a:cs typeface="Arial" pitchFamily="34" charset="0"/>
                        </a:rPr>
                        <a:t>-15%</a:t>
                      </a:r>
                      <a:endParaRPr lang="en-GB" sz="9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5000">
                <a:tc>
                  <a:txBody>
                    <a:bodyPr/>
                    <a:lstStyle/>
                    <a:p>
                      <a:endParaRPr lang="en-GB" sz="9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aseline="0" dirty="0" smtClean="0">
                          <a:latin typeface="Arial" pitchFamily="34" charset="0"/>
                          <a:cs typeface="Arial" pitchFamily="34" charset="0"/>
                        </a:rPr>
                        <a:t>Reduce prod data prolifera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dirty="0" smtClean="0">
                          <a:latin typeface="Arial" pitchFamily="34" charset="0"/>
                          <a:cs typeface="Arial" pitchFamily="34" charset="0"/>
                        </a:rPr>
                        <a:t>-20%</a:t>
                      </a:r>
                      <a:endParaRPr lang="en-GB" sz="9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25000">
                <a:tc>
                  <a:txBody>
                    <a:bodyPr/>
                    <a:lstStyle/>
                    <a:p>
                      <a:endParaRPr lang="en-GB" sz="9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aseline="0" dirty="0" smtClean="0">
                          <a:latin typeface="Arial" pitchFamily="34" charset="0"/>
                          <a:cs typeface="Arial" pitchFamily="34" charset="0"/>
                        </a:rPr>
                        <a:t>Reduce missed milestones due to poor Demand Managemen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dirty="0" smtClean="0">
                          <a:latin typeface="Arial" pitchFamily="34" charset="0"/>
                          <a:cs typeface="Arial" pitchFamily="34" charset="0"/>
                        </a:rPr>
                        <a:t>-10% TBC</a:t>
                      </a:r>
                      <a:endParaRPr lang="en-GB" sz="9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5000">
                <a:tc>
                  <a:txBody>
                    <a:bodyPr/>
                    <a:lstStyle/>
                    <a:p>
                      <a:endParaRPr lang="en-GB" sz="9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aseline="0" dirty="0" smtClean="0">
                          <a:latin typeface="Arial" pitchFamily="34" charset="0"/>
                          <a:cs typeface="Arial" pitchFamily="34" charset="0"/>
                        </a:rPr>
                        <a:t>Increase overall Operational Effectivenes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dirty="0" smtClean="0">
                          <a:latin typeface="Arial" pitchFamily="34" charset="0"/>
                          <a:cs typeface="Arial" pitchFamily="34" charset="0"/>
                        </a:rPr>
                        <a:t>95%</a:t>
                      </a:r>
                      <a:endParaRPr lang="en-GB" sz="9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25000">
                <a:tc>
                  <a:txBody>
                    <a:bodyPr/>
                    <a:lstStyle/>
                    <a:p>
                      <a:endParaRPr lang="en-GB" sz="9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aseline="0" dirty="0" smtClean="0">
                          <a:latin typeface="Arial" pitchFamily="34" charset="0"/>
                          <a:cs typeface="Arial" pitchFamily="34" charset="0"/>
                        </a:rPr>
                        <a:t>Ensure Implementation Effectiveness results in zero inciden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dirty="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GB" sz="9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8" name="Oval 27"/>
          <p:cNvSpPr/>
          <p:nvPr/>
        </p:nvSpPr>
        <p:spPr bwMode="auto">
          <a:xfrm>
            <a:off x="1916810" y="4606101"/>
            <a:ext cx="22002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2</a:t>
            </a:r>
          </a:p>
        </p:txBody>
      </p:sp>
      <p:sp>
        <p:nvSpPr>
          <p:cNvPr id="29" name="Oval 28"/>
          <p:cNvSpPr/>
          <p:nvPr/>
        </p:nvSpPr>
        <p:spPr bwMode="auto">
          <a:xfrm>
            <a:off x="1920811" y="4822125"/>
            <a:ext cx="22002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2</a:t>
            </a:r>
          </a:p>
        </p:txBody>
      </p:sp>
      <p:sp>
        <p:nvSpPr>
          <p:cNvPr id="30" name="Oval 29"/>
          <p:cNvSpPr/>
          <p:nvPr/>
        </p:nvSpPr>
        <p:spPr bwMode="auto">
          <a:xfrm>
            <a:off x="1708788" y="4822125"/>
            <a:ext cx="22002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1</a:t>
            </a:r>
          </a:p>
        </p:txBody>
      </p:sp>
      <p:sp>
        <p:nvSpPr>
          <p:cNvPr id="31" name="Oval 30"/>
          <p:cNvSpPr/>
          <p:nvPr/>
        </p:nvSpPr>
        <p:spPr bwMode="auto">
          <a:xfrm>
            <a:off x="1920811" y="5325809"/>
            <a:ext cx="22002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2</a:t>
            </a:r>
          </a:p>
        </p:txBody>
      </p:sp>
      <p:sp>
        <p:nvSpPr>
          <p:cNvPr id="32" name="Oval 31"/>
          <p:cNvSpPr/>
          <p:nvPr/>
        </p:nvSpPr>
        <p:spPr bwMode="auto">
          <a:xfrm>
            <a:off x="1708788" y="5325809"/>
            <a:ext cx="22002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1</a:t>
            </a:r>
          </a:p>
        </p:txBody>
      </p:sp>
      <p:sp>
        <p:nvSpPr>
          <p:cNvPr id="33" name="Oval 32"/>
          <p:cNvSpPr/>
          <p:nvPr/>
        </p:nvSpPr>
        <p:spPr bwMode="auto">
          <a:xfrm>
            <a:off x="2136835" y="5325809"/>
            <a:ext cx="22002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3</a:t>
            </a:r>
          </a:p>
        </p:txBody>
      </p:sp>
      <p:sp>
        <p:nvSpPr>
          <p:cNvPr id="34" name="Oval 33"/>
          <p:cNvSpPr/>
          <p:nvPr/>
        </p:nvSpPr>
        <p:spPr bwMode="auto">
          <a:xfrm>
            <a:off x="2352859" y="5541833"/>
            <a:ext cx="22002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4</a:t>
            </a:r>
          </a:p>
        </p:txBody>
      </p:sp>
      <p:sp>
        <p:nvSpPr>
          <p:cNvPr id="35" name="Oval 34"/>
          <p:cNvSpPr/>
          <p:nvPr/>
        </p:nvSpPr>
        <p:spPr bwMode="auto">
          <a:xfrm>
            <a:off x="1924812" y="5758229"/>
            <a:ext cx="22002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2</a:t>
            </a:r>
          </a:p>
        </p:txBody>
      </p:sp>
      <p:sp>
        <p:nvSpPr>
          <p:cNvPr id="36" name="Oval 35"/>
          <p:cNvSpPr/>
          <p:nvPr/>
        </p:nvSpPr>
        <p:spPr bwMode="auto">
          <a:xfrm>
            <a:off x="1924812" y="5038149"/>
            <a:ext cx="22002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2</a:t>
            </a:r>
          </a:p>
        </p:txBody>
      </p:sp>
      <p:sp>
        <p:nvSpPr>
          <p:cNvPr id="37" name="Oval 36"/>
          <p:cNvSpPr/>
          <p:nvPr/>
        </p:nvSpPr>
        <p:spPr bwMode="auto">
          <a:xfrm>
            <a:off x="2140836" y="5038149"/>
            <a:ext cx="22002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3</a:t>
            </a:r>
          </a:p>
        </p:txBody>
      </p:sp>
      <p:sp>
        <p:nvSpPr>
          <p:cNvPr id="38" name="Oval 37"/>
          <p:cNvSpPr/>
          <p:nvPr/>
        </p:nvSpPr>
        <p:spPr bwMode="auto">
          <a:xfrm>
            <a:off x="1920811" y="5973881"/>
            <a:ext cx="22002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2</a:t>
            </a:r>
          </a:p>
        </p:txBody>
      </p:sp>
      <p:sp>
        <p:nvSpPr>
          <p:cNvPr id="39" name="Oval 38"/>
          <p:cNvSpPr/>
          <p:nvPr/>
        </p:nvSpPr>
        <p:spPr bwMode="auto">
          <a:xfrm>
            <a:off x="1708788" y="5973881"/>
            <a:ext cx="22002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1</a:t>
            </a:r>
          </a:p>
        </p:txBody>
      </p:sp>
      <p:sp>
        <p:nvSpPr>
          <p:cNvPr id="40" name="Oval 39"/>
          <p:cNvSpPr/>
          <p:nvPr/>
        </p:nvSpPr>
        <p:spPr bwMode="auto">
          <a:xfrm>
            <a:off x="2136835" y="5973881"/>
            <a:ext cx="22002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3</a:t>
            </a:r>
          </a:p>
        </p:txBody>
      </p:sp>
      <p:sp>
        <p:nvSpPr>
          <p:cNvPr id="41" name="Oval 40"/>
          <p:cNvSpPr/>
          <p:nvPr/>
        </p:nvSpPr>
        <p:spPr bwMode="auto">
          <a:xfrm>
            <a:off x="2356860" y="5973881"/>
            <a:ext cx="22002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4</a:t>
            </a:r>
          </a:p>
        </p:txBody>
      </p:sp>
      <p:sp>
        <p:nvSpPr>
          <p:cNvPr id="42" name="Oval 41"/>
          <p:cNvSpPr/>
          <p:nvPr/>
        </p:nvSpPr>
        <p:spPr bwMode="auto">
          <a:xfrm>
            <a:off x="2568883" y="5974253"/>
            <a:ext cx="22002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5</a:t>
            </a:r>
          </a:p>
        </p:txBody>
      </p:sp>
      <p:sp>
        <p:nvSpPr>
          <p:cNvPr id="43" name="Oval 42"/>
          <p:cNvSpPr/>
          <p:nvPr/>
        </p:nvSpPr>
        <p:spPr bwMode="auto">
          <a:xfrm>
            <a:off x="2784907" y="5974253"/>
            <a:ext cx="22002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6</a:t>
            </a:r>
          </a:p>
        </p:txBody>
      </p:sp>
      <p:sp>
        <p:nvSpPr>
          <p:cNvPr id="44" name="Oval 43"/>
          <p:cNvSpPr/>
          <p:nvPr/>
        </p:nvSpPr>
        <p:spPr bwMode="auto">
          <a:xfrm>
            <a:off x="3004932" y="5974253"/>
            <a:ext cx="22002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7</a:t>
            </a:r>
          </a:p>
        </p:txBody>
      </p:sp>
      <p:sp>
        <p:nvSpPr>
          <p:cNvPr id="45" name="Oval 44"/>
          <p:cNvSpPr/>
          <p:nvPr/>
        </p:nvSpPr>
        <p:spPr bwMode="auto">
          <a:xfrm>
            <a:off x="2788908" y="6189905"/>
            <a:ext cx="220025" cy="216396"/>
          </a:xfrm>
          <a:prstGeom prst="ellips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0" dirty="0">
                <a:solidFill>
                  <a:srgbClr val="FFFFFF"/>
                </a:solidFill>
                <a:latin typeface="Expert Sans Regular"/>
                <a:cs typeface="Arial"/>
              </a:rPr>
              <a:t>6</a:t>
            </a:r>
          </a:p>
        </p:txBody>
      </p:sp>
      <p:sp>
        <p:nvSpPr>
          <p:cNvPr id="46" name="Right Arrow 45"/>
          <p:cNvSpPr/>
          <p:nvPr/>
        </p:nvSpPr>
        <p:spPr>
          <a:xfrm rot="5400000">
            <a:off x="5222730" y="4188202"/>
            <a:ext cx="244925" cy="360040"/>
          </a:xfrm>
          <a:prstGeom prst="rightArrow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200">
              <a:solidFill>
                <a:srgbClr val="FFFFFF"/>
              </a:solidFill>
              <a:latin typeface="Expert Sans Regular"/>
            </a:endParaRPr>
          </a:p>
        </p:txBody>
      </p:sp>
      <p:cxnSp>
        <p:nvCxnSpPr>
          <p:cNvPr id="47" name="Straight Connector 46"/>
          <p:cNvCxnSpPr/>
          <p:nvPr/>
        </p:nvCxnSpPr>
        <p:spPr bwMode="auto">
          <a:xfrm>
            <a:off x="1564772" y="4202653"/>
            <a:ext cx="7416824" cy="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8" name="Rectangle 2"/>
          <p:cNvSpPr>
            <a:spLocks noChangeArrowheads="1"/>
          </p:cNvSpPr>
          <p:nvPr/>
        </p:nvSpPr>
        <p:spPr bwMode="auto">
          <a:xfrm>
            <a:off x="2802556" y="204681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GB" sz="2400" b="0" dirty="0" smtClean="0">
                <a:solidFill>
                  <a:srgbClr val="00A4E8"/>
                </a:solidFill>
              </a:rPr>
              <a:t>The Benefits &amp; Measures of Our Journey</a:t>
            </a:r>
            <a:endParaRPr lang="en-GB" sz="2400" b="0" dirty="0">
              <a:solidFill>
                <a:srgbClr val="00A4E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4710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Rectangle 2"/>
          <p:cNvSpPr>
            <a:spLocks noChangeArrowheads="1"/>
          </p:cNvSpPr>
          <p:nvPr/>
        </p:nvSpPr>
        <p:spPr bwMode="auto">
          <a:xfrm>
            <a:off x="2650156" y="188915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GB" sz="2400" b="0" dirty="0" smtClean="0">
                <a:solidFill>
                  <a:schemeClr val="tx2"/>
                </a:solidFill>
              </a:rPr>
              <a:t>Executive Summary</a:t>
            </a:r>
            <a:endParaRPr lang="en-US" sz="2400" b="0" dirty="0">
              <a:solidFill>
                <a:schemeClr val="tx2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48235" y="1290918"/>
            <a:ext cx="9086247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57800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roup 43"/>
          <p:cNvGrpSpPr/>
          <p:nvPr/>
        </p:nvGrpSpPr>
        <p:grpSpPr>
          <a:xfrm>
            <a:off x="4012948" y="5029974"/>
            <a:ext cx="413871" cy="321469"/>
            <a:chOff x="0" y="0"/>
            <a:chExt cx="588615" cy="457199"/>
          </a:xfrm>
        </p:grpSpPr>
        <p:sp>
          <p:nvSpPr>
            <p:cNvPr id="72" name="Shape 41"/>
            <p:cNvSpPr/>
            <p:nvPr/>
          </p:nvSpPr>
          <p:spPr>
            <a:xfrm>
              <a:off x="18272" y="0"/>
              <a:ext cx="570344" cy="4384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54" h="21392" extrusionOk="0">
                  <a:moveTo>
                    <a:pt x="1953" y="15862"/>
                  </a:moveTo>
                  <a:cubicBezTo>
                    <a:pt x="1698" y="16523"/>
                    <a:pt x="1078" y="16790"/>
                    <a:pt x="569" y="16459"/>
                  </a:cubicBezTo>
                  <a:cubicBezTo>
                    <a:pt x="60" y="16129"/>
                    <a:pt x="-146" y="15325"/>
                    <a:pt x="109" y="14665"/>
                  </a:cubicBezTo>
                  <a:lnTo>
                    <a:pt x="1648" y="10679"/>
                  </a:lnTo>
                  <a:cubicBezTo>
                    <a:pt x="1903" y="10018"/>
                    <a:pt x="2522" y="9751"/>
                    <a:pt x="3032" y="10081"/>
                  </a:cubicBezTo>
                  <a:cubicBezTo>
                    <a:pt x="3541" y="10412"/>
                    <a:pt x="3747" y="11216"/>
                    <a:pt x="3492" y="11876"/>
                  </a:cubicBezTo>
                  <a:cubicBezTo>
                    <a:pt x="3492" y="11876"/>
                    <a:pt x="1953" y="15862"/>
                    <a:pt x="1953" y="15862"/>
                  </a:cubicBezTo>
                  <a:close/>
                  <a:moveTo>
                    <a:pt x="4411" y="17459"/>
                  </a:moveTo>
                  <a:cubicBezTo>
                    <a:pt x="4156" y="18120"/>
                    <a:pt x="3537" y="18387"/>
                    <a:pt x="3028" y="18056"/>
                  </a:cubicBezTo>
                  <a:cubicBezTo>
                    <a:pt x="2519" y="17725"/>
                    <a:pt x="2313" y="16922"/>
                    <a:pt x="2568" y="16262"/>
                  </a:cubicBezTo>
                  <a:lnTo>
                    <a:pt x="4106" y="12276"/>
                  </a:lnTo>
                  <a:cubicBezTo>
                    <a:pt x="4361" y="11615"/>
                    <a:pt x="4981" y="11348"/>
                    <a:pt x="5490" y="11679"/>
                  </a:cubicBezTo>
                  <a:cubicBezTo>
                    <a:pt x="5999" y="12010"/>
                    <a:pt x="6205" y="12813"/>
                    <a:pt x="5950" y="13473"/>
                  </a:cubicBezTo>
                  <a:cubicBezTo>
                    <a:pt x="5950" y="13473"/>
                    <a:pt x="4411" y="17459"/>
                    <a:pt x="4411" y="17459"/>
                  </a:cubicBezTo>
                  <a:close/>
                  <a:moveTo>
                    <a:pt x="6870" y="19056"/>
                  </a:moveTo>
                  <a:cubicBezTo>
                    <a:pt x="6615" y="19716"/>
                    <a:pt x="5995" y="19984"/>
                    <a:pt x="5486" y="19653"/>
                  </a:cubicBezTo>
                  <a:cubicBezTo>
                    <a:pt x="4977" y="19322"/>
                    <a:pt x="4771" y="18519"/>
                    <a:pt x="5026" y="17858"/>
                  </a:cubicBezTo>
                  <a:lnTo>
                    <a:pt x="6565" y="13872"/>
                  </a:lnTo>
                  <a:cubicBezTo>
                    <a:pt x="6820" y="13212"/>
                    <a:pt x="7439" y="12945"/>
                    <a:pt x="7948" y="13276"/>
                  </a:cubicBezTo>
                  <a:cubicBezTo>
                    <a:pt x="8458" y="13606"/>
                    <a:pt x="8664" y="14410"/>
                    <a:pt x="8409" y="15070"/>
                  </a:cubicBezTo>
                  <a:cubicBezTo>
                    <a:pt x="8409" y="15070"/>
                    <a:pt x="6870" y="19056"/>
                    <a:pt x="6870" y="19056"/>
                  </a:cubicBezTo>
                  <a:close/>
                  <a:moveTo>
                    <a:pt x="10407" y="14872"/>
                  </a:moveTo>
                  <a:cubicBezTo>
                    <a:pt x="10916" y="15203"/>
                    <a:pt x="11122" y="16006"/>
                    <a:pt x="10867" y="16667"/>
                  </a:cubicBezTo>
                  <a:lnTo>
                    <a:pt x="9328" y="20653"/>
                  </a:lnTo>
                  <a:cubicBezTo>
                    <a:pt x="9073" y="21314"/>
                    <a:pt x="8454" y="21581"/>
                    <a:pt x="7945" y="21250"/>
                  </a:cubicBezTo>
                  <a:cubicBezTo>
                    <a:pt x="7435" y="20919"/>
                    <a:pt x="7230" y="20116"/>
                    <a:pt x="7484" y="19455"/>
                  </a:cubicBezTo>
                  <a:lnTo>
                    <a:pt x="9023" y="15469"/>
                  </a:lnTo>
                  <a:cubicBezTo>
                    <a:pt x="9278" y="14809"/>
                    <a:pt x="9898" y="14541"/>
                    <a:pt x="10407" y="14872"/>
                  </a:cubicBezTo>
                  <a:close/>
                  <a:moveTo>
                    <a:pt x="21454" y="14280"/>
                  </a:moveTo>
                  <a:cubicBezTo>
                    <a:pt x="21454" y="15172"/>
                    <a:pt x="19392" y="15172"/>
                    <a:pt x="19392" y="15172"/>
                  </a:cubicBezTo>
                  <a:lnTo>
                    <a:pt x="14559" y="3582"/>
                  </a:lnTo>
                  <a:lnTo>
                    <a:pt x="11143" y="7148"/>
                  </a:lnTo>
                  <a:cubicBezTo>
                    <a:pt x="11143" y="7148"/>
                    <a:pt x="9911" y="7388"/>
                    <a:pt x="9414" y="6744"/>
                  </a:cubicBezTo>
                  <a:cubicBezTo>
                    <a:pt x="8881" y="6053"/>
                    <a:pt x="9081" y="4473"/>
                    <a:pt x="9081" y="4473"/>
                  </a:cubicBezTo>
                  <a:lnTo>
                    <a:pt x="9769" y="3582"/>
                  </a:lnTo>
                  <a:lnTo>
                    <a:pt x="12518" y="15"/>
                  </a:lnTo>
                  <a:cubicBezTo>
                    <a:pt x="12518" y="15"/>
                    <a:pt x="15286" y="-19"/>
                    <a:pt x="17308" y="15"/>
                  </a:cubicBezTo>
                  <a:cubicBezTo>
                    <a:pt x="18969" y="43"/>
                    <a:pt x="20059" y="1934"/>
                    <a:pt x="20340" y="2298"/>
                  </a:cubicBezTo>
                  <a:cubicBezTo>
                    <a:pt x="20642" y="2690"/>
                    <a:pt x="21454" y="4473"/>
                    <a:pt x="21454" y="4473"/>
                  </a:cubicBezTo>
                  <a:cubicBezTo>
                    <a:pt x="21454" y="6256"/>
                    <a:pt x="21453" y="8874"/>
                    <a:pt x="21454" y="14280"/>
                  </a:cubicBezTo>
                  <a:close/>
                </a:path>
              </a:pathLst>
            </a:custGeom>
            <a:solidFill>
              <a:srgbClr val="87766F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marL="0" marR="0" lvl="0" indent="0" defTabSz="32145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cs typeface="+mn-cs"/>
              </a:endParaRPr>
            </a:p>
          </p:txBody>
        </p:sp>
        <p:sp>
          <p:nvSpPr>
            <p:cNvPr id="73" name="Shape 42"/>
            <p:cNvSpPr/>
            <p:nvPr/>
          </p:nvSpPr>
          <p:spPr>
            <a:xfrm>
              <a:off x="0" y="0"/>
              <a:ext cx="498702" cy="4572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11" h="21363" extrusionOk="0">
                  <a:moveTo>
                    <a:pt x="12648" y="20509"/>
                  </a:moveTo>
                  <a:cubicBezTo>
                    <a:pt x="13074" y="21310"/>
                    <a:pt x="14010" y="21600"/>
                    <a:pt x="14759" y="21152"/>
                  </a:cubicBezTo>
                  <a:cubicBezTo>
                    <a:pt x="15288" y="20836"/>
                    <a:pt x="15349" y="19801"/>
                    <a:pt x="15199" y="18921"/>
                  </a:cubicBezTo>
                  <a:lnTo>
                    <a:pt x="15545" y="18770"/>
                  </a:lnTo>
                  <a:cubicBezTo>
                    <a:pt x="15963" y="19597"/>
                    <a:pt x="16917" y="19899"/>
                    <a:pt x="17676" y="19445"/>
                  </a:cubicBezTo>
                  <a:cubicBezTo>
                    <a:pt x="18229" y="19114"/>
                    <a:pt x="18390" y="17997"/>
                    <a:pt x="18277" y="17093"/>
                  </a:cubicBezTo>
                  <a:lnTo>
                    <a:pt x="18579" y="16914"/>
                  </a:lnTo>
                  <a:cubicBezTo>
                    <a:pt x="19205" y="17534"/>
                    <a:pt x="20137" y="18042"/>
                    <a:pt x="20692" y="17710"/>
                  </a:cubicBezTo>
                  <a:cubicBezTo>
                    <a:pt x="21451" y="17256"/>
                    <a:pt x="21600" y="16195"/>
                    <a:pt x="21183" y="15368"/>
                  </a:cubicBezTo>
                  <a:lnTo>
                    <a:pt x="16426" y="6163"/>
                  </a:lnTo>
                  <a:lnTo>
                    <a:pt x="14073" y="8538"/>
                  </a:lnTo>
                  <a:cubicBezTo>
                    <a:pt x="14073" y="8538"/>
                    <a:pt x="10420" y="8778"/>
                    <a:pt x="9819" y="8124"/>
                  </a:cubicBezTo>
                  <a:cubicBezTo>
                    <a:pt x="9194" y="7444"/>
                    <a:pt x="9415" y="3388"/>
                    <a:pt x="9415" y="3388"/>
                  </a:cubicBezTo>
                  <a:lnTo>
                    <a:pt x="12553" y="0"/>
                  </a:lnTo>
                  <a:cubicBezTo>
                    <a:pt x="12553" y="0"/>
                    <a:pt x="7145" y="0"/>
                    <a:pt x="3918" y="0"/>
                  </a:cubicBezTo>
                  <a:cubicBezTo>
                    <a:pt x="2329" y="0"/>
                    <a:pt x="0" y="1409"/>
                    <a:pt x="0" y="2561"/>
                  </a:cubicBezTo>
                  <a:cubicBezTo>
                    <a:pt x="0" y="4083"/>
                    <a:pt x="0" y="9719"/>
                    <a:pt x="0" y="11953"/>
                  </a:cubicBezTo>
                  <a:lnTo>
                    <a:pt x="921" y="9829"/>
                  </a:lnTo>
                  <a:cubicBezTo>
                    <a:pt x="1697" y="8142"/>
                    <a:pt x="3583" y="7460"/>
                    <a:pt x="5132" y="8304"/>
                  </a:cubicBezTo>
                  <a:lnTo>
                    <a:pt x="12849" y="12510"/>
                  </a:lnTo>
                  <a:cubicBezTo>
                    <a:pt x="14398" y="13354"/>
                    <a:pt x="15025" y="15406"/>
                    <a:pt x="14249" y="17093"/>
                  </a:cubicBezTo>
                  <a:cubicBezTo>
                    <a:pt x="14249" y="17093"/>
                    <a:pt x="12648" y="20509"/>
                    <a:pt x="12648" y="20509"/>
                  </a:cubicBezTo>
                  <a:close/>
                </a:path>
              </a:pathLst>
            </a:custGeom>
            <a:solidFill>
              <a:srgbClr val="87766F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marL="0" marR="0" lvl="0" indent="0" defTabSz="32145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cs typeface="+mn-cs"/>
              </a:endParaRPr>
            </a:p>
          </p:txBody>
        </p:sp>
      </p:grpSp>
      <p:grpSp>
        <p:nvGrpSpPr>
          <p:cNvPr id="74" name="Group 46"/>
          <p:cNvGrpSpPr/>
          <p:nvPr/>
        </p:nvGrpSpPr>
        <p:grpSpPr>
          <a:xfrm>
            <a:off x="1687695" y="5029937"/>
            <a:ext cx="221009" cy="321469"/>
            <a:chOff x="0" y="0"/>
            <a:chExt cx="314322" cy="457199"/>
          </a:xfrm>
        </p:grpSpPr>
        <p:sp>
          <p:nvSpPr>
            <p:cNvPr id="75" name="Shape 44"/>
            <p:cNvSpPr/>
            <p:nvPr/>
          </p:nvSpPr>
          <p:spPr>
            <a:xfrm>
              <a:off x="0" y="0"/>
              <a:ext cx="314323" cy="4572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36" y="2700"/>
                  </a:moveTo>
                  <a:cubicBezTo>
                    <a:pt x="19636" y="1954"/>
                    <a:pt x="18757" y="1350"/>
                    <a:pt x="17673" y="1350"/>
                  </a:cubicBezTo>
                  <a:lnTo>
                    <a:pt x="3927" y="1350"/>
                  </a:lnTo>
                  <a:cubicBezTo>
                    <a:pt x="2843" y="1350"/>
                    <a:pt x="1964" y="1954"/>
                    <a:pt x="1964" y="2700"/>
                  </a:cubicBezTo>
                  <a:lnTo>
                    <a:pt x="1964" y="16200"/>
                  </a:lnTo>
                  <a:cubicBezTo>
                    <a:pt x="1964" y="16946"/>
                    <a:pt x="2843" y="17550"/>
                    <a:pt x="3927" y="17550"/>
                  </a:cubicBezTo>
                  <a:lnTo>
                    <a:pt x="17673" y="17550"/>
                  </a:lnTo>
                  <a:cubicBezTo>
                    <a:pt x="18757" y="17550"/>
                    <a:pt x="19636" y="16946"/>
                    <a:pt x="19636" y="16200"/>
                  </a:cubicBezTo>
                  <a:cubicBezTo>
                    <a:pt x="19636" y="16200"/>
                    <a:pt x="19636" y="2700"/>
                    <a:pt x="19636" y="2700"/>
                  </a:cubicBezTo>
                  <a:close/>
                  <a:moveTo>
                    <a:pt x="19636" y="18900"/>
                  </a:moveTo>
                  <a:lnTo>
                    <a:pt x="19636" y="20250"/>
                  </a:lnTo>
                  <a:cubicBezTo>
                    <a:pt x="19636" y="20996"/>
                    <a:pt x="18757" y="21600"/>
                    <a:pt x="17673" y="21600"/>
                  </a:cubicBezTo>
                  <a:cubicBezTo>
                    <a:pt x="16588" y="21600"/>
                    <a:pt x="15709" y="20996"/>
                    <a:pt x="15709" y="20250"/>
                  </a:cubicBezTo>
                  <a:lnTo>
                    <a:pt x="15709" y="18900"/>
                  </a:lnTo>
                  <a:lnTo>
                    <a:pt x="5891" y="18900"/>
                  </a:lnTo>
                  <a:lnTo>
                    <a:pt x="5891" y="20250"/>
                  </a:lnTo>
                  <a:cubicBezTo>
                    <a:pt x="5891" y="20996"/>
                    <a:pt x="5012" y="21600"/>
                    <a:pt x="3927" y="21600"/>
                  </a:cubicBezTo>
                  <a:cubicBezTo>
                    <a:pt x="2843" y="21600"/>
                    <a:pt x="1964" y="20996"/>
                    <a:pt x="1964" y="20250"/>
                  </a:cubicBezTo>
                  <a:lnTo>
                    <a:pt x="1964" y="18900"/>
                  </a:lnTo>
                  <a:cubicBezTo>
                    <a:pt x="879" y="18900"/>
                    <a:pt x="0" y="18295"/>
                    <a:pt x="0" y="17550"/>
                  </a:cubicBezTo>
                  <a:lnTo>
                    <a:pt x="0" y="1350"/>
                  </a:lnTo>
                  <a:cubicBezTo>
                    <a:pt x="0" y="604"/>
                    <a:pt x="879" y="0"/>
                    <a:pt x="1964" y="0"/>
                  </a:cubicBezTo>
                  <a:lnTo>
                    <a:pt x="19636" y="0"/>
                  </a:lnTo>
                  <a:cubicBezTo>
                    <a:pt x="20721" y="0"/>
                    <a:pt x="21600" y="604"/>
                    <a:pt x="21600" y="1350"/>
                  </a:cubicBezTo>
                  <a:lnTo>
                    <a:pt x="21600" y="17550"/>
                  </a:lnTo>
                  <a:cubicBezTo>
                    <a:pt x="21600" y="18296"/>
                    <a:pt x="20721" y="18900"/>
                    <a:pt x="19636" y="18900"/>
                  </a:cubicBezTo>
                  <a:close/>
                </a:path>
              </a:pathLst>
            </a:custGeom>
            <a:solidFill>
              <a:srgbClr val="87766F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marL="0" marR="0" lvl="0" indent="0" defTabSz="32145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cs typeface="+mn-cs"/>
              </a:endParaRPr>
            </a:p>
          </p:txBody>
        </p:sp>
        <p:sp>
          <p:nvSpPr>
            <p:cNvPr id="76" name="Shape 45"/>
            <p:cNvSpPr/>
            <p:nvPr/>
          </p:nvSpPr>
          <p:spPr>
            <a:xfrm>
              <a:off x="42861" y="42864"/>
              <a:ext cx="228599" cy="3143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2764"/>
                  </a:moveTo>
                  <a:cubicBezTo>
                    <a:pt x="9309" y="12764"/>
                    <a:pt x="8100" y="11884"/>
                    <a:pt x="8100" y="10800"/>
                  </a:cubicBezTo>
                  <a:cubicBezTo>
                    <a:pt x="8100" y="9715"/>
                    <a:pt x="9309" y="8836"/>
                    <a:pt x="10800" y="8836"/>
                  </a:cubicBezTo>
                  <a:cubicBezTo>
                    <a:pt x="12291" y="8836"/>
                    <a:pt x="13500" y="9715"/>
                    <a:pt x="13500" y="10800"/>
                  </a:cubicBezTo>
                  <a:cubicBezTo>
                    <a:pt x="13500" y="11884"/>
                    <a:pt x="12291" y="12764"/>
                    <a:pt x="10800" y="12764"/>
                  </a:cubicBezTo>
                  <a:close/>
                  <a:moveTo>
                    <a:pt x="10800" y="6873"/>
                  </a:moveTo>
                  <a:cubicBezTo>
                    <a:pt x="7818" y="6873"/>
                    <a:pt x="5400" y="8631"/>
                    <a:pt x="5400" y="10800"/>
                  </a:cubicBezTo>
                  <a:cubicBezTo>
                    <a:pt x="5400" y="12969"/>
                    <a:pt x="7818" y="14727"/>
                    <a:pt x="10800" y="14727"/>
                  </a:cubicBezTo>
                  <a:cubicBezTo>
                    <a:pt x="13782" y="14727"/>
                    <a:pt x="16200" y="12969"/>
                    <a:pt x="16200" y="10800"/>
                  </a:cubicBezTo>
                  <a:cubicBezTo>
                    <a:pt x="16200" y="8631"/>
                    <a:pt x="13782" y="6873"/>
                    <a:pt x="10800" y="6873"/>
                  </a:cubicBezTo>
                  <a:close/>
                  <a:moveTo>
                    <a:pt x="2700" y="17673"/>
                  </a:moveTo>
                  <a:cubicBezTo>
                    <a:pt x="2700" y="18215"/>
                    <a:pt x="3304" y="18655"/>
                    <a:pt x="4050" y="18655"/>
                  </a:cubicBezTo>
                  <a:cubicBezTo>
                    <a:pt x="4796" y="18655"/>
                    <a:pt x="5400" y="18215"/>
                    <a:pt x="5400" y="17673"/>
                  </a:cubicBezTo>
                  <a:lnTo>
                    <a:pt x="9450" y="17673"/>
                  </a:lnTo>
                  <a:lnTo>
                    <a:pt x="9450" y="16691"/>
                  </a:lnTo>
                  <a:lnTo>
                    <a:pt x="4050" y="16691"/>
                  </a:lnTo>
                  <a:cubicBezTo>
                    <a:pt x="3304" y="16691"/>
                    <a:pt x="2700" y="17131"/>
                    <a:pt x="2700" y="17673"/>
                  </a:cubicBezTo>
                  <a:close/>
                  <a:moveTo>
                    <a:pt x="21600" y="19636"/>
                  </a:moveTo>
                  <a:cubicBezTo>
                    <a:pt x="21600" y="20721"/>
                    <a:pt x="20391" y="21600"/>
                    <a:pt x="18900" y="21600"/>
                  </a:cubicBezTo>
                  <a:lnTo>
                    <a:pt x="2700" y="21600"/>
                  </a:lnTo>
                  <a:cubicBezTo>
                    <a:pt x="1209" y="21600"/>
                    <a:pt x="0" y="20721"/>
                    <a:pt x="0" y="19637"/>
                  </a:cubicBezTo>
                  <a:lnTo>
                    <a:pt x="0" y="1964"/>
                  </a:lnTo>
                  <a:cubicBezTo>
                    <a:pt x="0" y="879"/>
                    <a:pt x="1209" y="0"/>
                    <a:pt x="2700" y="0"/>
                  </a:cubicBezTo>
                  <a:lnTo>
                    <a:pt x="18900" y="0"/>
                  </a:lnTo>
                  <a:cubicBezTo>
                    <a:pt x="20391" y="0"/>
                    <a:pt x="21600" y="879"/>
                    <a:pt x="21600" y="1964"/>
                  </a:cubicBezTo>
                  <a:cubicBezTo>
                    <a:pt x="21600" y="1964"/>
                    <a:pt x="21600" y="19636"/>
                    <a:pt x="21600" y="19636"/>
                  </a:cubicBezTo>
                  <a:close/>
                </a:path>
              </a:pathLst>
            </a:custGeom>
            <a:solidFill>
              <a:srgbClr val="87766F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marL="0" marR="0" lvl="0" indent="0" defTabSz="32145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cs typeface="+mn-cs"/>
              </a:endParaRPr>
            </a:p>
          </p:txBody>
        </p:sp>
      </p:grpSp>
      <p:sp>
        <p:nvSpPr>
          <p:cNvPr id="77" name="Shape 47"/>
          <p:cNvSpPr/>
          <p:nvPr/>
        </p:nvSpPr>
        <p:spPr>
          <a:xfrm>
            <a:off x="6348004" y="4453813"/>
            <a:ext cx="221010" cy="3214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6200"/>
                </a:moveTo>
                <a:lnTo>
                  <a:pt x="16691" y="16200"/>
                </a:lnTo>
                <a:lnTo>
                  <a:pt x="16691" y="20250"/>
                </a:lnTo>
                <a:lnTo>
                  <a:pt x="19636" y="20250"/>
                </a:lnTo>
                <a:cubicBezTo>
                  <a:pt x="19636" y="20250"/>
                  <a:pt x="19636" y="16200"/>
                  <a:pt x="19636" y="16200"/>
                </a:cubicBezTo>
                <a:close/>
                <a:moveTo>
                  <a:pt x="19636" y="13500"/>
                </a:moveTo>
                <a:lnTo>
                  <a:pt x="16691" y="13500"/>
                </a:lnTo>
                <a:lnTo>
                  <a:pt x="16691" y="14850"/>
                </a:lnTo>
                <a:lnTo>
                  <a:pt x="19636" y="14850"/>
                </a:lnTo>
                <a:cubicBezTo>
                  <a:pt x="19636" y="14850"/>
                  <a:pt x="19636" y="13500"/>
                  <a:pt x="19636" y="13500"/>
                </a:cubicBezTo>
                <a:close/>
                <a:moveTo>
                  <a:pt x="19636" y="10800"/>
                </a:moveTo>
                <a:lnTo>
                  <a:pt x="16691" y="10800"/>
                </a:lnTo>
                <a:lnTo>
                  <a:pt x="16691" y="12150"/>
                </a:lnTo>
                <a:lnTo>
                  <a:pt x="19636" y="12150"/>
                </a:lnTo>
                <a:cubicBezTo>
                  <a:pt x="19636" y="12150"/>
                  <a:pt x="19636" y="10800"/>
                  <a:pt x="19636" y="10800"/>
                </a:cubicBezTo>
                <a:close/>
                <a:moveTo>
                  <a:pt x="19636" y="1350"/>
                </a:moveTo>
                <a:lnTo>
                  <a:pt x="1964" y="1350"/>
                </a:lnTo>
                <a:lnTo>
                  <a:pt x="1964" y="9450"/>
                </a:lnTo>
                <a:lnTo>
                  <a:pt x="19636" y="9450"/>
                </a:lnTo>
                <a:cubicBezTo>
                  <a:pt x="19636" y="9450"/>
                  <a:pt x="19636" y="1350"/>
                  <a:pt x="19636" y="1350"/>
                </a:cubicBezTo>
                <a:close/>
                <a:moveTo>
                  <a:pt x="1964" y="12150"/>
                </a:moveTo>
                <a:lnTo>
                  <a:pt x="4909" y="12150"/>
                </a:lnTo>
                <a:lnTo>
                  <a:pt x="4909" y="10800"/>
                </a:lnTo>
                <a:lnTo>
                  <a:pt x="1964" y="10800"/>
                </a:lnTo>
                <a:cubicBezTo>
                  <a:pt x="1964" y="10800"/>
                  <a:pt x="1964" y="12150"/>
                  <a:pt x="1964" y="12150"/>
                </a:cubicBezTo>
                <a:close/>
                <a:moveTo>
                  <a:pt x="1964" y="14850"/>
                </a:moveTo>
                <a:lnTo>
                  <a:pt x="4909" y="14850"/>
                </a:lnTo>
                <a:lnTo>
                  <a:pt x="4909" y="13500"/>
                </a:lnTo>
                <a:lnTo>
                  <a:pt x="1964" y="13500"/>
                </a:lnTo>
                <a:cubicBezTo>
                  <a:pt x="1964" y="13500"/>
                  <a:pt x="1964" y="14850"/>
                  <a:pt x="1964" y="14850"/>
                </a:cubicBezTo>
                <a:close/>
                <a:moveTo>
                  <a:pt x="1964" y="17550"/>
                </a:moveTo>
                <a:lnTo>
                  <a:pt x="4909" y="17550"/>
                </a:lnTo>
                <a:lnTo>
                  <a:pt x="4909" y="16200"/>
                </a:lnTo>
                <a:lnTo>
                  <a:pt x="1964" y="16200"/>
                </a:lnTo>
                <a:cubicBezTo>
                  <a:pt x="1964" y="16200"/>
                  <a:pt x="1964" y="17550"/>
                  <a:pt x="1964" y="17550"/>
                </a:cubicBezTo>
                <a:close/>
                <a:moveTo>
                  <a:pt x="1964" y="20250"/>
                </a:moveTo>
                <a:lnTo>
                  <a:pt x="4909" y="20250"/>
                </a:lnTo>
                <a:lnTo>
                  <a:pt x="4909" y="18900"/>
                </a:lnTo>
                <a:lnTo>
                  <a:pt x="1964" y="18900"/>
                </a:lnTo>
                <a:cubicBezTo>
                  <a:pt x="1964" y="18900"/>
                  <a:pt x="1964" y="20250"/>
                  <a:pt x="1964" y="20250"/>
                </a:cubicBezTo>
                <a:close/>
                <a:moveTo>
                  <a:pt x="6873" y="12150"/>
                </a:moveTo>
                <a:lnTo>
                  <a:pt x="9818" y="12150"/>
                </a:lnTo>
                <a:lnTo>
                  <a:pt x="9818" y="10800"/>
                </a:lnTo>
                <a:lnTo>
                  <a:pt x="6873" y="10800"/>
                </a:lnTo>
                <a:cubicBezTo>
                  <a:pt x="6873" y="10800"/>
                  <a:pt x="6873" y="12150"/>
                  <a:pt x="6873" y="12150"/>
                </a:cubicBezTo>
                <a:close/>
                <a:moveTo>
                  <a:pt x="6873" y="14850"/>
                </a:moveTo>
                <a:lnTo>
                  <a:pt x="9818" y="14850"/>
                </a:lnTo>
                <a:lnTo>
                  <a:pt x="9818" y="13500"/>
                </a:lnTo>
                <a:lnTo>
                  <a:pt x="6873" y="13500"/>
                </a:lnTo>
                <a:cubicBezTo>
                  <a:pt x="6873" y="13500"/>
                  <a:pt x="6873" y="14850"/>
                  <a:pt x="6873" y="14850"/>
                </a:cubicBezTo>
                <a:close/>
                <a:moveTo>
                  <a:pt x="6873" y="17550"/>
                </a:moveTo>
                <a:lnTo>
                  <a:pt x="9818" y="17550"/>
                </a:lnTo>
                <a:lnTo>
                  <a:pt x="9818" y="16200"/>
                </a:lnTo>
                <a:lnTo>
                  <a:pt x="6873" y="16200"/>
                </a:lnTo>
                <a:cubicBezTo>
                  <a:pt x="6873" y="16200"/>
                  <a:pt x="6873" y="17550"/>
                  <a:pt x="6873" y="17550"/>
                </a:cubicBezTo>
                <a:close/>
                <a:moveTo>
                  <a:pt x="6873" y="20250"/>
                </a:moveTo>
                <a:lnTo>
                  <a:pt x="9818" y="20250"/>
                </a:lnTo>
                <a:lnTo>
                  <a:pt x="9818" y="18900"/>
                </a:lnTo>
                <a:lnTo>
                  <a:pt x="6873" y="18900"/>
                </a:lnTo>
                <a:cubicBezTo>
                  <a:pt x="6873" y="18900"/>
                  <a:pt x="6873" y="20250"/>
                  <a:pt x="6873" y="20250"/>
                </a:cubicBezTo>
                <a:close/>
                <a:moveTo>
                  <a:pt x="11782" y="12150"/>
                </a:moveTo>
                <a:lnTo>
                  <a:pt x="14727" y="12150"/>
                </a:lnTo>
                <a:lnTo>
                  <a:pt x="14727" y="10800"/>
                </a:lnTo>
                <a:lnTo>
                  <a:pt x="11782" y="10800"/>
                </a:lnTo>
                <a:cubicBezTo>
                  <a:pt x="11782" y="10800"/>
                  <a:pt x="11782" y="12150"/>
                  <a:pt x="11782" y="12150"/>
                </a:cubicBezTo>
                <a:close/>
                <a:moveTo>
                  <a:pt x="11782" y="14850"/>
                </a:moveTo>
                <a:lnTo>
                  <a:pt x="14727" y="14850"/>
                </a:lnTo>
                <a:lnTo>
                  <a:pt x="14727" y="13500"/>
                </a:lnTo>
                <a:lnTo>
                  <a:pt x="11782" y="13500"/>
                </a:lnTo>
                <a:cubicBezTo>
                  <a:pt x="11782" y="13500"/>
                  <a:pt x="11782" y="14850"/>
                  <a:pt x="11782" y="14850"/>
                </a:cubicBezTo>
                <a:close/>
                <a:moveTo>
                  <a:pt x="11782" y="17550"/>
                </a:moveTo>
                <a:lnTo>
                  <a:pt x="14727" y="17550"/>
                </a:lnTo>
                <a:lnTo>
                  <a:pt x="14727" y="16200"/>
                </a:lnTo>
                <a:lnTo>
                  <a:pt x="11782" y="16200"/>
                </a:lnTo>
                <a:cubicBezTo>
                  <a:pt x="11782" y="16200"/>
                  <a:pt x="11782" y="17550"/>
                  <a:pt x="11782" y="17550"/>
                </a:cubicBezTo>
                <a:close/>
                <a:moveTo>
                  <a:pt x="11782" y="20250"/>
                </a:moveTo>
                <a:lnTo>
                  <a:pt x="14727" y="20250"/>
                </a:lnTo>
                <a:lnTo>
                  <a:pt x="14727" y="18900"/>
                </a:lnTo>
                <a:lnTo>
                  <a:pt x="11782" y="18900"/>
                </a:lnTo>
                <a:cubicBezTo>
                  <a:pt x="11782" y="18900"/>
                  <a:pt x="11782" y="20250"/>
                  <a:pt x="11782" y="20250"/>
                </a:cubicBezTo>
                <a:close/>
                <a:moveTo>
                  <a:pt x="19636" y="21600"/>
                </a:moveTo>
                <a:lnTo>
                  <a:pt x="1964" y="21600"/>
                </a:lnTo>
                <a:cubicBezTo>
                  <a:pt x="879" y="21600"/>
                  <a:pt x="0" y="20996"/>
                  <a:pt x="0" y="20250"/>
                </a:cubicBezTo>
                <a:lnTo>
                  <a:pt x="0" y="1350"/>
                </a:lnTo>
                <a:cubicBezTo>
                  <a:pt x="0" y="604"/>
                  <a:pt x="879" y="0"/>
                  <a:pt x="1964" y="0"/>
                </a:cubicBezTo>
                <a:lnTo>
                  <a:pt x="19636" y="0"/>
                </a:lnTo>
                <a:cubicBezTo>
                  <a:pt x="20721" y="0"/>
                  <a:pt x="21600" y="604"/>
                  <a:pt x="21600" y="1350"/>
                </a:cubicBezTo>
                <a:lnTo>
                  <a:pt x="21600" y="20250"/>
                </a:lnTo>
                <a:cubicBezTo>
                  <a:pt x="21600" y="20996"/>
                  <a:pt x="20721" y="21600"/>
                  <a:pt x="19636" y="21600"/>
                </a:cubicBezTo>
                <a:close/>
              </a:path>
            </a:pathLst>
          </a:custGeom>
          <a:solidFill>
            <a:srgbClr val="87766F"/>
          </a:solidFill>
          <a:ln w="12700">
            <a:miter lim="400000"/>
          </a:ln>
        </p:spPr>
        <p:txBody>
          <a:bodyPr lIns="26788" tIns="26788" rIns="26788" bIns="26788" anchor="ctr"/>
          <a:lstStyle/>
          <a:p>
            <a:pPr marL="0" marR="0" lvl="0" indent="0" defTabSz="32145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cs typeface="+mn-cs"/>
            </a:endParaRPr>
          </a:p>
        </p:txBody>
      </p:sp>
      <p:grpSp>
        <p:nvGrpSpPr>
          <p:cNvPr id="78" name="Group 50"/>
          <p:cNvGrpSpPr/>
          <p:nvPr/>
        </p:nvGrpSpPr>
        <p:grpSpPr>
          <a:xfrm>
            <a:off x="1647511" y="4453813"/>
            <a:ext cx="301377" cy="321469"/>
            <a:chOff x="0" y="0"/>
            <a:chExt cx="428623" cy="457200"/>
          </a:xfrm>
        </p:grpSpPr>
        <p:sp>
          <p:nvSpPr>
            <p:cNvPr id="79" name="Shape 48"/>
            <p:cNvSpPr/>
            <p:nvPr/>
          </p:nvSpPr>
          <p:spPr>
            <a:xfrm>
              <a:off x="0" y="42863"/>
              <a:ext cx="428624" cy="414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160" y="5214"/>
                  </a:moveTo>
                  <a:lnTo>
                    <a:pt x="1440" y="5214"/>
                  </a:lnTo>
                  <a:lnTo>
                    <a:pt x="1440" y="20110"/>
                  </a:lnTo>
                  <a:lnTo>
                    <a:pt x="20160" y="20110"/>
                  </a:lnTo>
                  <a:cubicBezTo>
                    <a:pt x="20160" y="20110"/>
                    <a:pt x="20160" y="5214"/>
                    <a:pt x="20160" y="5214"/>
                  </a:cubicBezTo>
                  <a:close/>
                  <a:moveTo>
                    <a:pt x="21600" y="19366"/>
                  </a:moveTo>
                  <a:cubicBezTo>
                    <a:pt x="21600" y="20855"/>
                    <a:pt x="20880" y="21600"/>
                    <a:pt x="19440" y="21600"/>
                  </a:cubicBezTo>
                  <a:lnTo>
                    <a:pt x="2160" y="21600"/>
                  </a:lnTo>
                  <a:cubicBezTo>
                    <a:pt x="720" y="21600"/>
                    <a:pt x="0" y="20855"/>
                    <a:pt x="0" y="19366"/>
                  </a:cubicBezTo>
                  <a:lnTo>
                    <a:pt x="0" y="2234"/>
                  </a:lnTo>
                  <a:cubicBezTo>
                    <a:pt x="0" y="745"/>
                    <a:pt x="725" y="0"/>
                    <a:pt x="2160" y="0"/>
                  </a:cubicBezTo>
                  <a:lnTo>
                    <a:pt x="2880" y="0"/>
                  </a:lnTo>
                  <a:lnTo>
                    <a:pt x="2880" y="2234"/>
                  </a:lnTo>
                  <a:cubicBezTo>
                    <a:pt x="2880" y="3057"/>
                    <a:pt x="3526" y="3724"/>
                    <a:pt x="4320" y="3724"/>
                  </a:cubicBezTo>
                  <a:lnTo>
                    <a:pt x="7200" y="3724"/>
                  </a:lnTo>
                  <a:cubicBezTo>
                    <a:pt x="7994" y="3724"/>
                    <a:pt x="8640" y="3057"/>
                    <a:pt x="8640" y="2234"/>
                  </a:cubicBezTo>
                  <a:lnTo>
                    <a:pt x="8640" y="0"/>
                  </a:lnTo>
                  <a:lnTo>
                    <a:pt x="12960" y="0"/>
                  </a:lnTo>
                  <a:lnTo>
                    <a:pt x="12960" y="2234"/>
                  </a:lnTo>
                  <a:cubicBezTo>
                    <a:pt x="12960" y="3057"/>
                    <a:pt x="13606" y="3724"/>
                    <a:pt x="14400" y="3724"/>
                  </a:cubicBezTo>
                  <a:lnTo>
                    <a:pt x="17280" y="3724"/>
                  </a:lnTo>
                  <a:cubicBezTo>
                    <a:pt x="18074" y="3724"/>
                    <a:pt x="18720" y="3057"/>
                    <a:pt x="18720" y="2234"/>
                  </a:cubicBezTo>
                  <a:lnTo>
                    <a:pt x="18720" y="0"/>
                  </a:lnTo>
                  <a:lnTo>
                    <a:pt x="19400" y="0"/>
                  </a:lnTo>
                  <a:cubicBezTo>
                    <a:pt x="20880" y="0"/>
                    <a:pt x="21600" y="745"/>
                    <a:pt x="21600" y="2234"/>
                  </a:cubicBezTo>
                  <a:cubicBezTo>
                    <a:pt x="21600" y="2234"/>
                    <a:pt x="21600" y="19366"/>
                    <a:pt x="21600" y="19366"/>
                  </a:cubicBezTo>
                  <a:close/>
                </a:path>
              </a:pathLst>
            </a:custGeom>
            <a:solidFill>
              <a:srgbClr val="87766F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marL="0" marR="0" lvl="0" indent="0" defTabSz="32145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cs typeface="+mn-cs"/>
              </a:endParaRPr>
            </a:p>
          </p:txBody>
        </p:sp>
        <p:sp>
          <p:nvSpPr>
            <p:cNvPr id="80" name="Shape 49"/>
            <p:cNvSpPr/>
            <p:nvPr/>
          </p:nvSpPr>
          <p:spPr>
            <a:xfrm>
              <a:off x="57149" y="0"/>
              <a:ext cx="314325" cy="4000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09" y="21600"/>
                  </a:moveTo>
                  <a:lnTo>
                    <a:pt x="11782" y="21600"/>
                  </a:lnTo>
                  <a:lnTo>
                    <a:pt x="11782" y="18514"/>
                  </a:lnTo>
                  <a:lnTo>
                    <a:pt x="15709" y="18514"/>
                  </a:lnTo>
                  <a:cubicBezTo>
                    <a:pt x="15709" y="18514"/>
                    <a:pt x="15709" y="21600"/>
                    <a:pt x="15709" y="21600"/>
                  </a:cubicBezTo>
                  <a:close/>
                  <a:moveTo>
                    <a:pt x="15709" y="16971"/>
                  </a:moveTo>
                  <a:lnTo>
                    <a:pt x="11782" y="16971"/>
                  </a:lnTo>
                  <a:lnTo>
                    <a:pt x="11782" y="13886"/>
                  </a:lnTo>
                  <a:lnTo>
                    <a:pt x="15709" y="13886"/>
                  </a:lnTo>
                  <a:cubicBezTo>
                    <a:pt x="15709" y="13886"/>
                    <a:pt x="15709" y="16971"/>
                    <a:pt x="15709" y="16971"/>
                  </a:cubicBezTo>
                  <a:close/>
                  <a:moveTo>
                    <a:pt x="3927" y="21600"/>
                  </a:moveTo>
                  <a:lnTo>
                    <a:pt x="0" y="21600"/>
                  </a:lnTo>
                  <a:lnTo>
                    <a:pt x="0" y="18514"/>
                  </a:lnTo>
                  <a:lnTo>
                    <a:pt x="3927" y="18514"/>
                  </a:lnTo>
                  <a:cubicBezTo>
                    <a:pt x="3927" y="18514"/>
                    <a:pt x="3927" y="21600"/>
                    <a:pt x="3927" y="21600"/>
                  </a:cubicBezTo>
                  <a:close/>
                  <a:moveTo>
                    <a:pt x="3927" y="16971"/>
                  </a:moveTo>
                  <a:lnTo>
                    <a:pt x="0" y="16971"/>
                  </a:lnTo>
                  <a:lnTo>
                    <a:pt x="0" y="13886"/>
                  </a:lnTo>
                  <a:lnTo>
                    <a:pt x="3927" y="13886"/>
                  </a:lnTo>
                  <a:cubicBezTo>
                    <a:pt x="3927" y="13886"/>
                    <a:pt x="3927" y="16971"/>
                    <a:pt x="3927" y="16971"/>
                  </a:cubicBezTo>
                  <a:close/>
                  <a:moveTo>
                    <a:pt x="3927" y="12343"/>
                  </a:moveTo>
                  <a:lnTo>
                    <a:pt x="0" y="12343"/>
                  </a:lnTo>
                  <a:lnTo>
                    <a:pt x="0" y="9257"/>
                  </a:lnTo>
                  <a:lnTo>
                    <a:pt x="3927" y="9257"/>
                  </a:lnTo>
                  <a:cubicBezTo>
                    <a:pt x="3927" y="9257"/>
                    <a:pt x="3927" y="12343"/>
                    <a:pt x="3927" y="12343"/>
                  </a:cubicBezTo>
                  <a:close/>
                  <a:moveTo>
                    <a:pt x="4909" y="4629"/>
                  </a:moveTo>
                  <a:lnTo>
                    <a:pt x="2945" y="4629"/>
                  </a:lnTo>
                  <a:cubicBezTo>
                    <a:pt x="2404" y="4629"/>
                    <a:pt x="1964" y="4283"/>
                    <a:pt x="1964" y="3857"/>
                  </a:cubicBezTo>
                  <a:lnTo>
                    <a:pt x="1964" y="771"/>
                  </a:lnTo>
                  <a:cubicBezTo>
                    <a:pt x="1964" y="345"/>
                    <a:pt x="2404" y="0"/>
                    <a:pt x="2945" y="0"/>
                  </a:cubicBezTo>
                  <a:lnTo>
                    <a:pt x="4909" y="0"/>
                  </a:lnTo>
                  <a:cubicBezTo>
                    <a:pt x="5450" y="0"/>
                    <a:pt x="5891" y="345"/>
                    <a:pt x="5891" y="771"/>
                  </a:cubicBezTo>
                  <a:lnTo>
                    <a:pt x="5891" y="3857"/>
                  </a:lnTo>
                  <a:cubicBezTo>
                    <a:pt x="5891" y="4283"/>
                    <a:pt x="5450" y="4629"/>
                    <a:pt x="4909" y="4629"/>
                  </a:cubicBezTo>
                  <a:close/>
                  <a:moveTo>
                    <a:pt x="5891" y="9257"/>
                  </a:moveTo>
                  <a:lnTo>
                    <a:pt x="9818" y="9257"/>
                  </a:lnTo>
                  <a:lnTo>
                    <a:pt x="9818" y="12343"/>
                  </a:lnTo>
                  <a:lnTo>
                    <a:pt x="5891" y="12343"/>
                  </a:lnTo>
                  <a:cubicBezTo>
                    <a:pt x="5891" y="12343"/>
                    <a:pt x="5891" y="9257"/>
                    <a:pt x="5891" y="9257"/>
                  </a:cubicBezTo>
                  <a:close/>
                  <a:moveTo>
                    <a:pt x="5891" y="13886"/>
                  </a:moveTo>
                  <a:lnTo>
                    <a:pt x="9818" y="13886"/>
                  </a:lnTo>
                  <a:lnTo>
                    <a:pt x="9818" y="16971"/>
                  </a:lnTo>
                  <a:lnTo>
                    <a:pt x="5891" y="16971"/>
                  </a:lnTo>
                  <a:cubicBezTo>
                    <a:pt x="5891" y="16971"/>
                    <a:pt x="5891" y="13886"/>
                    <a:pt x="5891" y="13886"/>
                  </a:cubicBezTo>
                  <a:close/>
                  <a:moveTo>
                    <a:pt x="5891" y="18514"/>
                  </a:moveTo>
                  <a:lnTo>
                    <a:pt x="9818" y="18514"/>
                  </a:lnTo>
                  <a:lnTo>
                    <a:pt x="9818" y="21600"/>
                  </a:lnTo>
                  <a:lnTo>
                    <a:pt x="5891" y="21600"/>
                  </a:lnTo>
                  <a:cubicBezTo>
                    <a:pt x="5891" y="21600"/>
                    <a:pt x="5891" y="18514"/>
                    <a:pt x="5891" y="18514"/>
                  </a:cubicBezTo>
                  <a:close/>
                  <a:moveTo>
                    <a:pt x="15709" y="12343"/>
                  </a:moveTo>
                  <a:lnTo>
                    <a:pt x="11782" y="12343"/>
                  </a:lnTo>
                  <a:lnTo>
                    <a:pt x="11782" y="9257"/>
                  </a:lnTo>
                  <a:lnTo>
                    <a:pt x="15709" y="9257"/>
                  </a:lnTo>
                  <a:cubicBezTo>
                    <a:pt x="15709" y="9257"/>
                    <a:pt x="15709" y="12343"/>
                    <a:pt x="15709" y="12343"/>
                  </a:cubicBezTo>
                  <a:close/>
                  <a:moveTo>
                    <a:pt x="18655" y="4629"/>
                  </a:moveTo>
                  <a:lnTo>
                    <a:pt x="16691" y="4629"/>
                  </a:lnTo>
                  <a:cubicBezTo>
                    <a:pt x="16150" y="4629"/>
                    <a:pt x="15709" y="4283"/>
                    <a:pt x="15709" y="3857"/>
                  </a:cubicBezTo>
                  <a:lnTo>
                    <a:pt x="15709" y="771"/>
                  </a:lnTo>
                  <a:cubicBezTo>
                    <a:pt x="15709" y="345"/>
                    <a:pt x="16150" y="0"/>
                    <a:pt x="16691" y="0"/>
                  </a:cubicBezTo>
                  <a:lnTo>
                    <a:pt x="18655" y="0"/>
                  </a:lnTo>
                  <a:cubicBezTo>
                    <a:pt x="19196" y="0"/>
                    <a:pt x="19636" y="345"/>
                    <a:pt x="19636" y="771"/>
                  </a:cubicBezTo>
                  <a:lnTo>
                    <a:pt x="19636" y="3857"/>
                  </a:lnTo>
                  <a:cubicBezTo>
                    <a:pt x="19636" y="4283"/>
                    <a:pt x="19196" y="4629"/>
                    <a:pt x="18655" y="4629"/>
                  </a:cubicBezTo>
                  <a:close/>
                  <a:moveTo>
                    <a:pt x="17673" y="9257"/>
                  </a:moveTo>
                  <a:lnTo>
                    <a:pt x="21600" y="9257"/>
                  </a:lnTo>
                  <a:lnTo>
                    <a:pt x="21600" y="12343"/>
                  </a:lnTo>
                  <a:lnTo>
                    <a:pt x="17673" y="12343"/>
                  </a:lnTo>
                  <a:cubicBezTo>
                    <a:pt x="17673" y="12343"/>
                    <a:pt x="17673" y="9257"/>
                    <a:pt x="17673" y="9257"/>
                  </a:cubicBezTo>
                  <a:close/>
                  <a:moveTo>
                    <a:pt x="17673" y="13886"/>
                  </a:moveTo>
                  <a:lnTo>
                    <a:pt x="21600" y="13886"/>
                  </a:lnTo>
                  <a:lnTo>
                    <a:pt x="21600" y="16971"/>
                  </a:lnTo>
                  <a:lnTo>
                    <a:pt x="17673" y="16971"/>
                  </a:lnTo>
                  <a:cubicBezTo>
                    <a:pt x="17673" y="16971"/>
                    <a:pt x="17673" y="13886"/>
                    <a:pt x="17673" y="13886"/>
                  </a:cubicBezTo>
                  <a:close/>
                  <a:moveTo>
                    <a:pt x="17673" y="21600"/>
                  </a:moveTo>
                  <a:lnTo>
                    <a:pt x="17673" y="18514"/>
                  </a:lnTo>
                  <a:lnTo>
                    <a:pt x="21600" y="18514"/>
                  </a:lnTo>
                  <a:lnTo>
                    <a:pt x="21600" y="21600"/>
                  </a:lnTo>
                  <a:cubicBezTo>
                    <a:pt x="21600" y="21600"/>
                    <a:pt x="17673" y="21600"/>
                    <a:pt x="17673" y="21600"/>
                  </a:cubicBezTo>
                  <a:close/>
                </a:path>
              </a:pathLst>
            </a:custGeom>
            <a:solidFill>
              <a:srgbClr val="87766F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marL="0" marR="0" lvl="0" indent="0" defTabSz="32145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cs typeface="+mn-cs"/>
              </a:endParaRPr>
            </a:p>
          </p:txBody>
        </p:sp>
      </p:grpSp>
      <p:grpSp>
        <p:nvGrpSpPr>
          <p:cNvPr id="81" name="Group 53"/>
          <p:cNvGrpSpPr/>
          <p:nvPr/>
        </p:nvGrpSpPr>
        <p:grpSpPr>
          <a:xfrm>
            <a:off x="6326651" y="5029974"/>
            <a:ext cx="271236" cy="321469"/>
            <a:chOff x="0" y="0"/>
            <a:chExt cx="385757" cy="457199"/>
          </a:xfrm>
        </p:grpSpPr>
        <p:sp>
          <p:nvSpPr>
            <p:cNvPr id="82" name="Shape 51"/>
            <p:cNvSpPr/>
            <p:nvPr/>
          </p:nvSpPr>
          <p:spPr>
            <a:xfrm>
              <a:off x="14286" y="42864"/>
              <a:ext cx="357184" cy="4143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872" y="1490"/>
                  </a:moveTo>
                  <a:lnTo>
                    <a:pt x="1728" y="1490"/>
                  </a:lnTo>
                  <a:lnTo>
                    <a:pt x="1728" y="14896"/>
                  </a:lnTo>
                  <a:lnTo>
                    <a:pt x="19872" y="14897"/>
                  </a:lnTo>
                  <a:cubicBezTo>
                    <a:pt x="19872" y="14897"/>
                    <a:pt x="19872" y="1490"/>
                    <a:pt x="19872" y="1490"/>
                  </a:cubicBezTo>
                  <a:close/>
                  <a:moveTo>
                    <a:pt x="10800" y="20855"/>
                  </a:moveTo>
                  <a:cubicBezTo>
                    <a:pt x="11039" y="20855"/>
                    <a:pt x="11232" y="20688"/>
                    <a:pt x="11232" y="20483"/>
                  </a:cubicBezTo>
                  <a:cubicBezTo>
                    <a:pt x="11232" y="20277"/>
                    <a:pt x="11039" y="20110"/>
                    <a:pt x="10800" y="20110"/>
                  </a:cubicBezTo>
                  <a:cubicBezTo>
                    <a:pt x="10561" y="20110"/>
                    <a:pt x="10368" y="20277"/>
                    <a:pt x="10368" y="20483"/>
                  </a:cubicBezTo>
                  <a:cubicBezTo>
                    <a:pt x="10368" y="20688"/>
                    <a:pt x="10561" y="20855"/>
                    <a:pt x="10800" y="20855"/>
                  </a:cubicBezTo>
                  <a:close/>
                  <a:moveTo>
                    <a:pt x="11232" y="16386"/>
                  </a:moveTo>
                  <a:lnTo>
                    <a:pt x="11232" y="19441"/>
                  </a:lnTo>
                  <a:cubicBezTo>
                    <a:pt x="11733" y="19595"/>
                    <a:pt x="12096" y="19998"/>
                    <a:pt x="12096" y="20483"/>
                  </a:cubicBezTo>
                  <a:cubicBezTo>
                    <a:pt x="12096" y="21100"/>
                    <a:pt x="11516" y="21600"/>
                    <a:pt x="10800" y="21600"/>
                  </a:cubicBezTo>
                  <a:cubicBezTo>
                    <a:pt x="10084" y="21600"/>
                    <a:pt x="9504" y="21100"/>
                    <a:pt x="9504" y="20483"/>
                  </a:cubicBezTo>
                  <a:cubicBezTo>
                    <a:pt x="9504" y="19998"/>
                    <a:pt x="9867" y="19595"/>
                    <a:pt x="10368" y="19441"/>
                  </a:cubicBezTo>
                  <a:lnTo>
                    <a:pt x="10368" y="16386"/>
                  </a:lnTo>
                  <a:lnTo>
                    <a:pt x="0" y="16386"/>
                  </a:lnTo>
                  <a:lnTo>
                    <a:pt x="0" y="0"/>
                  </a:lnTo>
                  <a:lnTo>
                    <a:pt x="21600" y="0"/>
                  </a:lnTo>
                  <a:lnTo>
                    <a:pt x="21600" y="16386"/>
                  </a:lnTo>
                  <a:cubicBezTo>
                    <a:pt x="21600" y="16386"/>
                    <a:pt x="11232" y="16386"/>
                    <a:pt x="11232" y="16386"/>
                  </a:cubicBezTo>
                  <a:close/>
                </a:path>
              </a:pathLst>
            </a:custGeom>
            <a:solidFill>
              <a:srgbClr val="87766F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marL="0" marR="0" lvl="0" indent="0" defTabSz="32145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cs typeface="+mn-cs"/>
              </a:endParaRPr>
            </a:p>
          </p:txBody>
        </p:sp>
        <p:sp>
          <p:nvSpPr>
            <p:cNvPr id="83" name="Shape 52"/>
            <p:cNvSpPr/>
            <p:nvPr/>
          </p:nvSpPr>
          <p:spPr>
            <a:xfrm>
              <a:off x="0" y="0"/>
              <a:ext cx="385758" cy="3000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000" y="16457"/>
                  </a:moveTo>
                  <a:lnTo>
                    <a:pt x="16800" y="9257"/>
                  </a:lnTo>
                  <a:lnTo>
                    <a:pt x="17600" y="9257"/>
                  </a:lnTo>
                  <a:lnTo>
                    <a:pt x="17600" y="11314"/>
                  </a:lnTo>
                  <a:lnTo>
                    <a:pt x="12800" y="18514"/>
                  </a:lnTo>
                  <a:lnTo>
                    <a:pt x="8000" y="18514"/>
                  </a:lnTo>
                  <a:lnTo>
                    <a:pt x="5600" y="21600"/>
                  </a:lnTo>
                  <a:lnTo>
                    <a:pt x="4000" y="21600"/>
                  </a:lnTo>
                  <a:lnTo>
                    <a:pt x="4000" y="20571"/>
                  </a:lnTo>
                  <a:lnTo>
                    <a:pt x="7200" y="16457"/>
                  </a:lnTo>
                  <a:cubicBezTo>
                    <a:pt x="7200" y="16457"/>
                    <a:pt x="12000" y="16457"/>
                    <a:pt x="12000" y="16457"/>
                  </a:cubicBezTo>
                  <a:close/>
                  <a:moveTo>
                    <a:pt x="7200" y="14400"/>
                  </a:moveTo>
                  <a:lnTo>
                    <a:pt x="4000" y="14400"/>
                  </a:lnTo>
                  <a:lnTo>
                    <a:pt x="4000" y="13371"/>
                  </a:lnTo>
                  <a:lnTo>
                    <a:pt x="7200" y="13371"/>
                  </a:lnTo>
                  <a:cubicBezTo>
                    <a:pt x="7200" y="13371"/>
                    <a:pt x="7200" y="14400"/>
                    <a:pt x="7200" y="14400"/>
                  </a:cubicBezTo>
                  <a:close/>
                  <a:moveTo>
                    <a:pt x="8800" y="12343"/>
                  </a:moveTo>
                  <a:lnTo>
                    <a:pt x="4000" y="12343"/>
                  </a:lnTo>
                  <a:lnTo>
                    <a:pt x="4000" y="11314"/>
                  </a:lnTo>
                  <a:lnTo>
                    <a:pt x="8800" y="11314"/>
                  </a:lnTo>
                  <a:cubicBezTo>
                    <a:pt x="8800" y="11314"/>
                    <a:pt x="8800" y="12343"/>
                    <a:pt x="8800" y="12343"/>
                  </a:cubicBezTo>
                  <a:close/>
                  <a:moveTo>
                    <a:pt x="12000" y="10286"/>
                  </a:moveTo>
                  <a:lnTo>
                    <a:pt x="4000" y="10286"/>
                  </a:lnTo>
                  <a:lnTo>
                    <a:pt x="4000" y="9257"/>
                  </a:lnTo>
                  <a:lnTo>
                    <a:pt x="12000" y="9257"/>
                  </a:lnTo>
                  <a:cubicBezTo>
                    <a:pt x="12000" y="9257"/>
                    <a:pt x="12000" y="10286"/>
                    <a:pt x="12000" y="10286"/>
                  </a:cubicBezTo>
                  <a:close/>
                  <a:moveTo>
                    <a:pt x="7200" y="8228"/>
                  </a:moveTo>
                  <a:lnTo>
                    <a:pt x="4000" y="8228"/>
                  </a:lnTo>
                  <a:lnTo>
                    <a:pt x="4000" y="7200"/>
                  </a:lnTo>
                  <a:lnTo>
                    <a:pt x="7200" y="7200"/>
                  </a:lnTo>
                  <a:cubicBezTo>
                    <a:pt x="7200" y="7200"/>
                    <a:pt x="7200" y="8228"/>
                    <a:pt x="7200" y="8228"/>
                  </a:cubicBezTo>
                  <a:close/>
                  <a:moveTo>
                    <a:pt x="20800" y="2057"/>
                  </a:moveTo>
                  <a:lnTo>
                    <a:pt x="800" y="2057"/>
                  </a:lnTo>
                  <a:cubicBezTo>
                    <a:pt x="358" y="2057"/>
                    <a:pt x="0" y="1596"/>
                    <a:pt x="0" y="1029"/>
                  </a:cubicBezTo>
                  <a:cubicBezTo>
                    <a:pt x="0" y="460"/>
                    <a:pt x="358" y="0"/>
                    <a:pt x="800" y="0"/>
                  </a:cubicBezTo>
                  <a:lnTo>
                    <a:pt x="20800" y="0"/>
                  </a:lnTo>
                  <a:cubicBezTo>
                    <a:pt x="21242" y="0"/>
                    <a:pt x="21600" y="460"/>
                    <a:pt x="21600" y="1029"/>
                  </a:cubicBezTo>
                  <a:cubicBezTo>
                    <a:pt x="21600" y="1596"/>
                    <a:pt x="21242" y="2057"/>
                    <a:pt x="20800" y="2057"/>
                  </a:cubicBezTo>
                  <a:close/>
                </a:path>
              </a:pathLst>
            </a:custGeom>
            <a:solidFill>
              <a:srgbClr val="87766F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marL="0" marR="0" lvl="0" indent="0" defTabSz="32145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3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cs typeface="+mn-cs"/>
              </a:endParaRPr>
            </a:p>
          </p:txBody>
        </p:sp>
      </p:grpSp>
      <p:sp>
        <p:nvSpPr>
          <p:cNvPr id="84" name="Shape 54"/>
          <p:cNvSpPr/>
          <p:nvPr/>
        </p:nvSpPr>
        <p:spPr>
          <a:xfrm>
            <a:off x="4005568" y="4453813"/>
            <a:ext cx="428631" cy="3214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200" y="1800"/>
                </a:moveTo>
                <a:lnTo>
                  <a:pt x="14175" y="6300"/>
                </a:lnTo>
                <a:lnTo>
                  <a:pt x="19012" y="6300"/>
                </a:lnTo>
                <a:cubicBezTo>
                  <a:pt x="19012" y="6300"/>
                  <a:pt x="16200" y="1800"/>
                  <a:pt x="16200" y="1800"/>
                </a:cubicBezTo>
                <a:close/>
                <a:moveTo>
                  <a:pt x="12150" y="1800"/>
                </a:moveTo>
                <a:lnTo>
                  <a:pt x="13500" y="5400"/>
                </a:lnTo>
                <a:lnTo>
                  <a:pt x="14850" y="1800"/>
                </a:lnTo>
                <a:cubicBezTo>
                  <a:pt x="14850" y="1800"/>
                  <a:pt x="12150" y="1800"/>
                  <a:pt x="12150" y="1800"/>
                </a:cubicBezTo>
                <a:close/>
                <a:moveTo>
                  <a:pt x="8775" y="6300"/>
                </a:moveTo>
                <a:lnTo>
                  <a:pt x="12825" y="6300"/>
                </a:lnTo>
                <a:lnTo>
                  <a:pt x="10800" y="1800"/>
                </a:lnTo>
                <a:cubicBezTo>
                  <a:pt x="10800" y="1800"/>
                  <a:pt x="8775" y="6300"/>
                  <a:pt x="8775" y="6300"/>
                </a:cubicBezTo>
                <a:close/>
                <a:moveTo>
                  <a:pt x="6750" y="1800"/>
                </a:moveTo>
                <a:lnTo>
                  <a:pt x="8100" y="5400"/>
                </a:lnTo>
                <a:lnTo>
                  <a:pt x="9450" y="1800"/>
                </a:lnTo>
                <a:cubicBezTo>
                  <a:pt x="9450" y="1800"/>
                  <a:pt x="6750" y="1800"/>
                  <a:pt x="6750" y="1800"/>
                </a:cubicBezTo>
                <a:close/>
                <a:moveTo>
                  <a:pt x="2587" y="6300"/>
                </a:moveTo>
                <a:lnTo>
                  <a:pt x="7425" y="6300"/>
                </a:lnTo>
                <a:lnTo>
                  <a:pt x="5400" y="1800"/>
                </a:lnTo>
                <a:cubicBezTo>
                  <a:pt x="5400" y="1800"/>
                  <a:pt x="2587" y="6300"/>
                  <a:pt x="2587" y="6300"/>
                </a:cubicBezTo>
                <a:close/>
                <a:moveTo>
                  <a:pt x="7425" y="8100"/>
                </a:moveTo>
                <a:lnTo>
                  <a:pt x="2700" y="8100"/>
                </a:lnTo>
                <a:lnTo>
                  <a:pt x="9788" y="17550"/>
                </a:lnTo>
                <a:cubicBezTo>
                  <a:pt x="9788" y="17550"/>
                  <a:pt x="7425" y="8100"/>
                  <a:pt x="7425" y="8100"/>
                </a:cubicBezTo>
                <a:close/>
                <a:moveTo>
                  <a:pt x="12825" y="8100"/>
                </a:moveTo>
                <a:lnTo>
                  <a:pt x="8775" y="8100"/>
                </a:lnTo>
                <a:lnTo>
                  <a:pt x="10800" y="16200"/>
                </a:lnTo>
                <a:cubicBezTo>
                  <a:pt x="10800" y="16200"/>
                  <a:pt x="12825" y="8100"/>
                  <a:pt x="12825" y="8100"/>
                </a:cubicBezTo>
                <a:close/>
                <a:moveTo>
                  <a:pt x="10800" y="18900"/>
                </a:moveTo>
                <a:lnTo>
                  <a:pt x="10800" y="18900"/>
                </a:lnTo>
                <a:lnTo>
                  <a:pt x="10800" y="18900"/>
                </a:lnTo>
                <a:cubicBezTo>
                  <a:pt x="10800" y="18900"/>
                  <a:pt x="10800" y="18900"/>
                  <a:pt x="10800" y="18900"/>
                </a:cubicBezTo>
                <a:close/>
                <a:moveTo>
                  <a:pt x="18900" y="8100"/>
                </a:moveTo>
                <a:lnTo>
                  <a:pt x="14175" y="8100"/>
                </a:lnTo>
                <a:lnTo>
                  <a:pt x="11812" y="17550"/>
                </a:lnTo>
                <a:cubicBezTo>
                  <a:pt x="11812" y="17550"/>
                  <a:pt x="18900" y="8100"/>
                  <a:pt x="18900" y="8100"/>
                </a:cubicBezTo>
                <a:close/>
                <a:moveTo>
                  <a:pt x="10800" y="21600"/>
                </a:moveTo>
                <a:lnTo>
                  <a:pt x="0" y="7200"/>
                </a:lnTo>
                <a:lnTo>
                  <a:pt x="4725" y="0"/>
                </a:lnTo>
                <a:lnTo>
                  <a:pt x="16875" y="0"/>
                </a:lnTo>
                <a:lnTo>
                  <a:pt x="21600" y="7200"/>
                </a:lnTo>
                <a:cubicBezTo>
                  <a:pt x="21600" y="7200"/>
                  <a:pt x="10800" y="21600"/>
                  <a:pt x="10800" y="21600"/>
                </a:cubicBezTo>
                <a:close/>
              </a:path>
            </a:pathLst>
          </a:custGeom>
          <a:solidFill>
            <a:srgbClr val="87766F"/>
          </a:solidFill>
          <a:ln w="12700">
            <a:miter lim="400000"/>
          </a:ln>
        </p:spPr>
        <p:txBody>
          <a:bodyPr lIns="26788" tIns="26788" rIns="26788" bIns="26788" anchor="ctr"/>
          <a:lstStyle/>
          <a:p>
            <a:pPr marL="0" marR="0" lvl="0" indent="0" defTabSz="32145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cs typeface="+mn-cs"/>
            </a:endParaRPr>
          </a:p>
        </p:txBody>
      </p:sp>
      <p:sp>
        <p:nvSpPr>
          <p:cNvPr id="85" name="Shape 55"/>
          <p:cNvSpPr/>
          <p:nvPr/>
        </p:nvSpPr>
        <p:spPr>
          <a:xfrm>
            <a:off x="805621" y="4299461"/>
            <a:ext cx="8194828" cy="1"/>
          </a:xfrm>
          <a:prstGeom prst="line">
            <a:avLst/>
          </a:prstGeom>
          <a:ln w="12700">
            <a:solidFill>
              <a:srgbClr val="DCDEE0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defTabSz="9139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4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cs typeface="+mn-cs"/>
            </a:endParaRPr>
          </a:p>
        </p:txBody>
      </p:sp>
      <p:sp>
        <p:nvSpPr>
          <p:cNvPr id="87" name="Shape 57"/>
          <p:cNvSpPr/>
          <p:nvPr/>
        </p:nvSpPr>
        <p:spPr>
          <a:xfrm>
            <a:off x="4777626" y="4008632"/>
            <a:ext cx="241102" cy="3214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100" y="0"/>
                </a:moveTo>
                <a:lnTo>
                  <a:pt x="13500" y="0"/>
                </a:lnTo>
                <a:cubicBezTo>
                  <a:pt x="13997" y="0"/>
                  <a:pt x="14400" y="302"/>
                  <a:pt x="14400" y="675"/>
                </a:cubicBezTo>
                <a:cubicBezTo>
                  <a:pt x="14400" y="1048"/>
                  <a:pt x="13997" y="1350"/>
                  <a:pt x="13500" y="1350"/>
                </a:cubicBezTo>
                <a:lnTo>
                  <a:pt x="8100" y="1350"/>
                </a:lnTo>
                <a:cubicBezTo>
                  <a:pt x="7603" y="1350"/>
                  <a:pt x="7200" y="1048"/>
                  <a:pt x="7200" y="675"/>
                </a:cubicBezTo>
                <a:cubicBezTo>
                  <a:pt x="7200" y="302"/>
                  <a:pt x="7603" y="0"/>
                  <a:pt x="8100" y="0"/>
                </a:cubicBezTo>
                <a:close/>
                <a:moveTo>
                  <a:pt x="2700" y="3375"/>
                </a:moveTo>
                <a:cubicBezTo>
                  <a:pt x="2700" y="1511"/>
                  <a:pt x="4715" y="0"/>
                  <a:pt x="7200" y="0"/>
                </a:cubicBezTo>
                <a:lnTo>
                  <a:pt x="7200" y="675"/>
                </a:lnTo>
                <a:cubicBezTo>
                  <a:pt x="5212" y="675"/>
                  <a:pt x="3600" y="1884"/>
                  <a:pt x="3600" y="3375"/>
                </a:cubicBezTo>
                <a:lnTo>
                  <a:pt x="7200" y="3375"/>
                </a:lnTo>
                <a:lnTo>
                  <a:pt x="10800" y="3375"/>
                </a:lnTo>
                <a:lnTo>
                  <a:pt x="11700" y="3375"/>
                </a:lnTo>
                <a:lnTo>
                  <a:pt x="18900" y="3375"/>
                </a:lnTo>
                <a:lnTo>
                  <a:pt x="21600" y="10125"/>
                </a:lnTo>
                <a:lnTo>
                  <a:pt x="0" y="10125"/>
                </a:lnTo>
                <a:cubicBezTo>
                  <a:pt x="0" y="10125"/>
                  <a:pt x="2700" y="3375"/>
                  <a:pt x="2700" y="3375"/>
                </a:cubicBezTo>
                <a:close/>
                <a:moveTo>
                  <a:pt x="11700" y="12150"/>
                </a:moveTo>
                <a:lnTo>
                  <a:pt x="11700" y="19610"/>
                </a:lnTo>
                <a:cubicBezTo>
                  <a:pt x="14977" y="19812"/>
                  <a:pt x="18000" y="20925"/>
                  <a:pt x="18000" y="20925"/>
                </a:cubicBezTo>
                <a:lnTo>
                  <a:pt x="18000" y="21600"/>
                </a:lnTo>
                <a:lnTo>
                  <a:pt x="3600" y="21600"/>
                </a:lnTo>
                <a:lnTo>
                  <a:pt x="3600" y="20925"/>
                </a:lnTo>
                <a:cubicBezTo>
                  <a:pt x="3600" y="20925"/>
                  <a:pt x="6624" y="19776"/>
                  <a:pt x="9900" y="19600"/>
                </a:cubicBezTo>
                <a:lnTo>
                  <a:pt x="9900" y="12150"/>
                </a:lnTo>
                <a:lnTo>
                  <a:pt x="0" y="12150"/>
                </a:lnTo>
                <a:lnTo>
                  <a:pt x="0" y="10800"/>
                </a:lnTo>
                <a:lnTo>
                  <a:pt x="21600" y="10800"/>
                </a:lnTo>
                <a:lnTo>
                  <a:pt x="21600" y="12150"/>
                </a:lnTo>
                <a:cubicBezTo>
                  <a:pt x="21600" y="12150"/>
                  <a:pt x="11700" y="12150"/>
                  <a:pt x="11700" y="12150"/>
                </a:cubicBezTo>
                <a:close/>
              </a:path>
            </a:pathLst>
          </a:custGeom>
          <a:solidFill>
            <a:srgbClr val="87766F"/>
          </a:solidFill>
          <a:ln w="12700">
            <a:miter lim="400000"/>
          </a:ln>
        </p:spPr>
        <p:txBody>
          <a:bodyPr lIns="26788" tIns="26788" rIns="26788" bIns="26788" anchor="ctr"/>
          <a:lstStyle/>
          <a:p>
            <a:pPr marL="0" marR="0" lvl="0" indent="0" defTabSz="32145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cs typeface="+mn-cs"/>
            </a:endParaRPr>
          </a:p>
        </p:txBody>
      </p:sp>
      <p:sp>
        <p:nvSpPr>
          <p:cNvPr id="88" name="Shape 58"/>
          <p:cNvSpPr/>
          <p:nvPr/>
        </p:nvSpPr>
        <p:spPr>
          <a:xfrm>
            <a:off x="2011334" y="4493531"/>
            <a:ext cx="1931790" cy="2420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>
              <a:defRPr sz="1500">
                <a:solidFill>
                  <a:srgbClr val="4C4C4C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913977"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sz="1100" b="0" dirty="0">
                <a:solidFill>
                  <a:srgbClr val="000000"/>
                </a:solidFill>
                <a:latin typeface="Expert Sans Regular" panose="020B0503030103020204" pitchFamily="34" charset="0"/>
              </a:rPr>
              <a:t>Detailed </a:t>
            </a:r>
            <a:r>
              <a:rPr sz="1100" b="0" dirty="0" smtClean="0">
                <a:solidFill>
                  <a:srgbClr val="000000"/>
                </a:solidFill>
                <a:latin typeface="Expert Sans Regular" panose="020B0503030103020204" pitchFamily="34" charset="0"/>
              </a:rPr>
              <a:t>Program </a:t>
            </a:r>
            <a:r>
              <a:rPr sz="1100" b="0" dirty="0">
                <a:solidFill>
                  <a:srgbClr val="000000"/>
                </a:solidFill>
                <a:latin typeface="Expert Sans Regular" panose="020B0503030103020204" pitchFamily="34" charset="0"/>
              </a:rPr>
              <a:t>Planning</a:t>
            </a:r>
          </a:p>
        </p:txBody>
      </p:sp>
      <p:sp>
        <p:nvSpPr>
          <p:cNvPr id="89" name="Shape 59"/>
          <p:cNvSpPr/>
          <p:nvPr/>
        </p:nvSpPr>
        <p:spPr>
          <a:xfrm>
            <a:off x="4496644" y="4493531"/>
            <a:ext cx="1752854" cy="2420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>
              <a:defRPr sz="1500">
                <a:solidFill>
                  <a:srgbClr val="4C4C4C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913977"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sz="1100" b="0" dirty="0">
                <a:solidFill>
                  <a:srgbClr val="000000"/>
                </a:solidFill>
                <a:latin typeface="Expert Sans Regular" panose="020B0503030103020204" pitchFamily="34" charset="0"/>
              </a:rPr>
              <a:t>Risk &amp; Issue Management</a:t>
            </a:r>
          </a:p>
        </p:txBody>
      </p:sp>
      <p:sp>
        <p:nvSpPr>
          <p:cNvPr id="90" name="Shape 60"/>
          <p:cNvSpPr/>
          <p:nvPr/>
        </p:nvSpPr>
        <p:spPr>
          <a:xfrm>
            <a:off x="6675039" y="4493531"/>
            <a:ext cx="1473802" cy="2420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>
              <a:defRPr sz="1500">
                <a:solidFill>
                  <a:srgbClr val="4C4C4C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913977"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sz="1100" b="0" dirty="0">
                <a:solidFill>
                  <a:srgbClr val="000000"/>
                </a:solidFill>
                <a:latin typeface="Expert Sans Regular" panose="020B0503030103020204" pitchFamily="34" charset="0"/>
              </a:rPr>
              <a:t>Financial Management</a:t>
            </a:r>
          </a:p>
        </p:txBody>
      </p:sp>
      <p:sp>
        <p:nvSpPr>
          <p:cNvPr id="91" name="Shape 61"/>
          <p:cNvSpPr/>
          <p:nvPr/>
        </p:nvSpPr>
        <p:spPr>
          <a:xfrm>
            <a:off x="2011334" y="5069655"/>
            <a:ext cx="1931790" cy="2420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>
              <a:defRPr sz="1500">
                <a:solidFill>
                  <a:srgbClr val="4C4C4C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913977"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sz="1100" b="0" dirty="0">
                <a:solidFill>
                  <a:srgbClr val="000000"/>
                </a:solidFill>
                <a:latin typeface="Expert Sans Regular" panose="020B0503030103020204" pitchFamily="34" charset="0"/>
              </a:rPr>
              <a:t>Change Control</a:t>
            </a:r>
          </a:p>
        </p:txBody>
      </p:sp>
      <p:sp>
        <p:nvSpPr>
          <p:cNvPr id="92" name="Shape 62"/>
          <p:cNvSpPr/>
          <p:nvPr/>
        </p:nvSpPr>
        <p:spPr>
          <a:xfrm>
            <a:off x="4496644" y="5069655"/>
            <a:ext cx="1752854" cy="2420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>
              <a:defRPr sz="1500">
                <a:solidFill>
                  <a:srgbClr val="4C4C4C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913977"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sz="1100" b="0" dirty="0">
                <a:solidFill>
                  <a:srgbClr val="000000"/>
                </a:solidFill>
                <a:latin typeface="Expert Sans Regular" panose="020B0503030103020204" pitchFamily="34" charset="0"/>
              </a:rPr>
              <a:t>Stakeholder Engagement</a:t>
            </a:r>
          </a:p>
        </p:txBody>
      </p:sp>
      <p:sp>
        <p:nvSpPr>
          <p:cNvPr id="93" name="Shape 63"/>
          <p:cNvSpPr/>
          <p:nvPr/>
        </p:nvSpPr>
        <p:spPr>
          <a:xfrm>
            <a:off x="6675039" y="5069655"/>
            <a:ext cx="1473802" cy="2420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>
              <a:defRPr sz="1500">
                <a:solidFill>
                  <a:srgbClr val="4C4C4C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913977"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sz="1100" b="0" dirty="0">
                <a:solidFill>
                  <a:srgbClr val="000000"/>
                </a:solidFill>
                <a:latin typeface="Expert Sans Regular" panose="020B0503030103020204" pitchFamily="34" charset="0"/>
              </a:rPr>
              <a:t>Benefits Tracking</a:t>
            </a:r>
          </a:p>
        </p:txBody>
      </p:sp>
      <p:sp>
        <p:nvSpPr>
          <p:cNvPr id="94" name="Shape 65"/>
          <p:cNvSpPr/>
          <p:nvPr/>
        </p:nvSpPr>
        <p:spPr>
          <a:xfrm flipH="1" flipV="1">
            <a:off x="561525" y="3649082"/>
            <a:ext cx="293086" cy="663027"/>
          </a:xfrm>
          <a:prstGeom prst="line">
            <a:avLst/>
          </a:prstGeom>
          <a:ln w="12700">
            <a:solidFill>
              <a:srgbClr val="A7AAA9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defTabSz="9139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4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cs typeface="+mn-cs"/>
            </a:endParaRPr>
          </a:p>
        </p:txBody>
      </p:sp>
      <p:sp>
        <p:nvSpPr>
          <p:cNvPr id="95" name="Shape 66"/>
          <p:cNvSpPr/>
          <p:nvPr/>
        </p:nvSpPr>
        <p:spPr>
          <a:xfrm flipV="1">
            <a:off x="8990731" y="3658595"/>
            <a:ext cx="293086" cy="663026"/>
          </a:xfrm>
          <a:prstGeom prst="line">
            <a:avLst/>
          </a:prstGeom>
          <a:ln w="12700">
            <a:solidFill>
              <a:srgbClr val="A6AAA9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defTabSz="9139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4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cs typeface="+mn-cs"/>
            </a:endParaRPr>
          </a:p>
        </p:txBody>
      </p:sp>
      <p:sp>
        <p:nvSpPr>
          <p:cNvPr id="96" name="Shape 67"/>
          <p:cNvSpPr/>
          <p:nvPr/>
        </p:nvSpPr>
        <p:spPr>
          <a:xfrm>
            <a:off x="800762" y="5430163"/>
            <a:ext cx="8194828" cy="1"/>
          </a:xfrm>
          <a:prstGeom prst="line">
            <a:avLst/>
          </a:prstGeom>
          <a:ln w="12700">
            <a:solidFill>
              <a:srgbClr val="DCDEE0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defTabSz="9139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4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cs typeface="+mn-cs"/>
            </a:endParaRPr>
          </a:p>
        </p:txBody>
      </p:sp>
      <p:sp>
        <p:nvSpPr>
          <p:cNvPr id="97" name="Shape 68"/>
          <p:cNvSpPr/>
          <p:nvPr/>
        </p:nvSpPr>
        <p:spPr>
          <a:xfrm flipV="1">
            <a:off x="512535" y="5427504"/>
            <a:ext cx="293086" cy="663026"/>
          </a:xfrm>
          <a:prstGeom prst="line">
            <a:avLst/>
          </a:prstGeom>
          <a:ln w="12700">
            <a:solidFill>
              <a:srgbClr val="A7AAA9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defTabSz="9139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4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cs typeface="+mn-cs"/>
            </a:endParaRPr>
          </a:p>
        </p:txBody>
      </p:sp>
      <p:sp>
        <p:nvSpPr>
          <p:cNvPr id="98" name="Shape 69"/>
          <p:cNvSpPr/>
          <p:nvPr/>
        </p:nvSpPr>
        <p:spPr>
          <a:xfrm flipH="1" flipV="1">
            <a:off x="8990731" y="5427504"/>
            <a:ext cx="293086" cy="663026"/>
          </a:xfrm>
          <a:prstGeom prst="line">
            <a:avLst/>
          </a:prstGeom>
          <a:ln w="12700">
            <a:solidFill>
              <a:srgbClr val="A7AAA9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defTabSz="9139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4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cs typeface="+mn-cs"/>
            </a:endParaRPr>
          </a:p>
        </p:txBody>
      </p:sp>
      <p:sp>
        <p:nvSpPr>
          <p:cNvPr id="99" name="Shape 70"/>
          <p:cNvSpPr/>
          <p:nvPr/>
        </p:nvSpPr>
        <p:spPr>
          <a:xfrm>
            <a:off x="916231" y="5539306"/>
            <a:ext cx="7963890" cy="10122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/>
          <a:p>
            <a:pPr defTabSz="913977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100" b="0" dirty="0" smtClean="0">
                <a:solidFill>
                  <a:srgbClr val="4C4C4C"/>
                </a:solidFill>
                <a:ea typeface="Helvetica Neue Light"/>
                <a:cs typeface="Helvetica Neue Light"/>
                <a:sym typeface="Helvetica Neue Light"/>
              </a:rPr>
              <a:t>Program </a:t>
            </a:r>
            <a:r>
              <a:rPr sz="1100" b="0" dirty="0">
                <a:solidFill>
                  <a:srgbClr val="4C4C4C"/>
                </a:solidFill>
                <a:ea typeface="Helvetica Neue Light"/>
                <a:cs typeface="Helvetica Neue Light"/>
                <a:sym typeface="Helvetica Neue Light"/>
              </a:rPr>
              <a:t>Manage the delivery of the salient targets defined in the PCB Technology vision and intent statements</a:t>
            </a:r>
          </a:p>
          <a:p>
            <a:pPr defTabSz="913977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100" b="0" dirty="0">
                <a:solidFill>
                  <a:srgbClr val="4C4C4C"/>
                </a:solidFill>
                <a:ea typeface="Helvetica Neue Light"/>
                <a:cs typeface="Helvetica Neue Light"/>
                <a:sym typeface="Helvetica Neue Light"/>
              </a:rPr>
              <a:t>Ensure these are clearly defined, scoped and placed under change control</a:t>
            </a:r>
          </a:p>
          <a:p>
            <a:pPr defTabSz="913977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100" b="0" dirty="0">
                <a:solidFill>
                  <a:srgbClr val="4C4C4C"/>
                </a:solidFill>
                <a:ea typeface="Helvetica Neue Light"/>
                <a:cs typeface="Helvetica Neue Light"/>
                <a:sym typeface="Helvetica Neue Light"/>
              </a:rPr>
              <a:t>Drive delivery with the support of an accountable and empowered </a:t>
            </a:r>
            <a:r>
              <a:rPr sz="1100" b="0" dirty="0" smtClean="0">
                <a:solidFill>
                  <a:srgbClr val="4C4C4C"/>
                </a:solidFill>
                <a:ea typeface="Helvetica Neue Light"/>
                <a:cs typeface="Helvetica Neue Light"/>
                <a:sym typeface="Helvetica Neue Light"/>
              </a:rPr>
              <a:t>Program </a:t>
            </a:r>
            <a:r>
              <a:rPr sz="1100" b="0" dirty="0">
                <a:solidFill>
                  <a:srgbClr val="4C4C4C"/>
                </a:solidFill>
                <a:ea typeface="Helvetica Neue Light"/>
                <a:cs typeface="Helvetica Neue Light"/>
                <a:sym typeface="Helvetica Neue Light"/>
              </a:rPr>
              <a:t>Board</a:t>
            </a:r>
          </a:p>
          <a:p>
            <a:pPr defTabSz="913977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100" b="0" dirty="0">
                <a:solidFill>
                  <a:srgbClr val="4C4C4C"/>
                </a:solidFill>
                <a:ea typeface="Helvetica Neue Light"/>
                <a:cs typeface="Helvetica Neue Light"/>
                <a:sym typeface="Helvetica Neue Light"/>
              </a:rPr>
              <a:t>Provide full and clear visibility of our progress towards targets in a single place</a:t>
            </a:r>
          </a:p>
          <a:p>
            <a:pPr defTabSz="913977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100" b="0" dirty="0">
                <a:solidFill>
                  <a:srgbClr val="4C4C4C"/>
                </a:solidFill>
                <a:ea typeface="Helvetica Neue Light"/>
                <a:cs typeface="Helvetica Neue Light"/>
                <a:sym typeface="Helvetica Neue Light"/>
              </a:rPr>
              <a:t>Early sight of any issues which may impact targets, giving the opportunity to correct course</a:t>
            </a:r>
          </a:p>
        </p:txBody>
      </p:sp>
      <p:pic>
        <p:nvPicPr>
          <p:cNvPr id="100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1152" y="2111270"/>
            <a:ext cx="1121966" cy="1638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1" name="Picture 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110" y="2109897"/>
            <a:ext cx="1314709" cy="164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" name="Picture 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4406" y="2109897"/>
            <a:ext cx="1065691" cy="164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" name="Picture 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4682" y="2109897"/>
            <a:ext cx="1123520" cy="164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4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7705" y="1335434"/>
            <a:ext cx="1832818" cy="25237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" name="Rectangle 36"/>
          <p:cNvSpPr/>
          <p:nvPr/>
        </p:nvSpPr>
        <p:spPr bwMode="auto">
          <a:xfrm>
            <a:off x="398896" y="810159"/>
            <a:ext cx="9125312" cy="43834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400" i="1" dirty="0" smtClean="0">
                <a:solidFill>
                  <a:schemeClr val="bg1"/>
                </a:solidFill>
              </a:rPr>
              <a:t>Implementation of DevOps is part of the overall Change Optimization Program</a:t>
            </a:r>
            <a:endParaRPr lang="en-GB" sz="1400" i="1" dirty="0">
              <a:solidFill>
                <a:schemeClr val="bg1"/>
              </a:solidFill>
            </a:endParaRPr>
          </a:p>
        </p:txBody>
      </p:sp>
      <p:sp>
        <p:nvSpPr>
          <p:cNvPr id="38" name="Rectangle 2"/>
          <p:cNvSpPr>
            <a:spLocks noChangeArrowheads="1"/>
          </p:cNvSpPr>
          <p:nvPr/>
        </p:nvSpPr>
        <p:spPr bwMode="auto">
          <a:xfrm>
            <a:off x="2650156" y="188915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GB" sz="2400" b="0" dirty="0" smtClean="0">
                <a:solidFill>
                  <a:schemeClr val="tx2"/>
                </a:solidFill>
              </a:rPr>
              <a:t>Where </a:t>
            </a:r>
            <a:r>
              <a:rPr lang="en-GB" sz="2400" b="0" dirty="0">
                <a:solidFill>
                  <a:schemeClr val="tx2"/>
                </a:solidFill>
              </a:rPr>
              <a:t>W</a:t>
            </a:r>
            <a:r>
              <a:rPr lang="en-GB" sz="2400" b="0" dirty="0" smtClean="0">
                <a:solidFill>
                  <a:schemeClr val="tx2"/>
                </a:solidFill>
              </a:rPr>
              <a:t>e Sit In The Overall Program</a:t>
            </a:r>
            <a:endParaRPr lang="en-US" sz="2400" b="0" dirty="0">
              <a:solidFill>
                <a:schemeClr val="tx2"/>
              </a:solidFill>
            </a:endParaRPr>
          </a:p>
        </p:txBody>
      </p:sp>
      <p:sp>
        <p:nvSpPr>
          <p:cNvPr id="86" name="Shape 56"/>
          <p:cNvSpPr/>
          <p:nvPr/>
        </p:nvSpPr>
        <p:spPr>
          <a:xfrm>
            <a:off x="2767817" y="3724605"/>
            <a:ext cx="4260718" cy="4545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>
              <a:defRPr sz="2700">
                <a:solidFill>
                  <a:srgbClr val="4C4C4C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lvl1pPr>
          </a:lstStyle>
          <a:p>
            <a:pPr algn="ctr" defTabSz="913977"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sz="1900" b="0" dirty="0" smtClean="0">
                <a:solidFill>
                  <a:srgbClr val="00B0F0"/>
                </a:solidFill>
                <a:latin typeface="Expert Sans Regular" panose="020B0503030103020204" pitchFamily="34" charset="0"/>
              </a:rPr>
              <a:t>Program </a:t>
            </a:r>
            <a:r>
              <a:rPr sz="1900" b="0" dirty="0">
                <a:solidFill>
                  <a:srgbClr val="00B0F0"/>
                </a:solidFill>
                <a:latin typeface="Expert Sans Regular" panose="020B0503030103020204" pitchFamily="34" charset="0"/>
              </a:rPr>
              <a:t>Board Control</a:t>
            </a:r>
          </a:p>
        </p:txBody>
      </p:sp>
    </p:spTree>
    <p:extLst>
      <p:ext uri="{BB962C8B-B14F-4D97-AF65-F5344CB8AC3E}">
        <p14:creationId xmlns:p14="http://schemas.microsoft.com/office/powerpoint/2010/main" val="19121625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75645" y="1684871"/>
            <a:ext cx="6768622" cy="4392037"/>
            <a:chOff x="70193" y="1477362"/>
            <a:chExt cx="7887125" cy="4906938"/>
          </a:xfrm>
        </p:grpSpPr>
        <p:sp>
          <p:nvSpPr>
            <p:cNvPr id="159" name="Afgeronde rechthoek 118"/>
            <p:cNvSpPr>
              <a:spLocks/>
            </p:cNvSpPr>
            <p:nvPr/>
          </p:nvSpPr>
          <p:spPr>
            <a:xfrm>
              <a:off x="139799" y="2507990"/>
              <a:ext cx="7817519" cy="1758593"/>
            </a:xfrm>
            <a:prstGeom prst="roundRect">
              <a:avLst>
                <a:gd name="adj" fmla="val 6392"/>
              </a:avLst>
            </a:prstGeom>
            <a:solidFill>
              <a:schemeClr val="tx2">
                <a:lumMod val="20000"/>
                <a:lumOff val="80000"/>
                <a:alpha val="60000"/>
              </a:schemeClr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50" b="0" kern="0" dirty="0" smtClean="0">
                <a:solidFill>
                  <a:srgbClr val="1F3B92"/>
                </a:solidFill>
                <a:latin typeface="Calibri"/>
                <a:cs typeface="Myriad Pro"/>
              </a:endParaRPr>
            </a:p>
          </p:txBody>
        </p:sp>
        <p:sp>
          <p:nvSpPr>
            <p:cNvPr id="119" name="Afgeronde rechthoek 118"/>
            <p:cNvSpPr>
              <a:spLocks/>
            </p:cNvSpPr>
            <p:nvPr/>
          </p:nvSpPr>
          <p:spPr>
            <a:xfrm>
              <a:off x="6818484" y="4329811"/>
              <a:ext cx="1122069" cy="2042159"/>
            </a:xfrm>
            <a:prstGeom prst="roundRect">
              <a:avLst>
                <a:gd name="adj" fmla="val 6392"/>
              </a:avLst>
            </a:prstGeom>
            <a:solidFill>
              <a:srgbClr val="003A63">
                <a:alpha val="50000"/>
              </a:srgbClr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50" b="0" kern="0" dirty="0" smtClean="0">
                <a:solidFill>
                  <a:srgbClr val="1F3B92"/>
                </a:solidFill>
                <a:latin typeface="Calibri"/>
                <a:cs typeface="Myriad Pro"/>
              </a:endParaRPr>
            </a:p>
          </p:txBody>
        </p:sp>
        <p:sp>
          <p:nvSpPr>
            <p:cNvPr id="98" name="Afgeronde rechthoek 118"/>
            <p:cNvSpPr>
              <a:spLocks/>
            </p:cNvSpPr>
            <p:nvPr/>
          </p:nvSpPr>
          <p:spPr>
            <a:xfrm>
              <a:off x="139799" y="4325360"/>
              <a:ext cx="6580042" cy="2058940"/>
            </a:xfrm>
            <a:prstGeom prst="roundRect">
              <a:avLst>
                <a:gd name="adj" fmla="val 5194"/>
              </a:avLst>
            </a:prstGeom>
            <a:solidFill>
              <a:srgbClr val="C0C0C0">
                <a:alpha val="80000"/>
              </a:srgbClr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b="0" kern="0" dirty="0" smtClean="0">
                  <a:solidFill>
                    <a:srgbClr val="1F3B92"/>
                  </a:solidFill>
                  <a:latin typeface="Calibri"/>
                  <a:cs typeface="Myriad Pro"/>
                </a:rPr>
                <a:t>Iterative Build/Deploy/test cycles across multiple test phases</a:t>
              </a:r>
            </a:p>
          </p:txBody>
        </p:sp>
        <p:sp>
          <p:nvSpPr>
            <p:cNvPr id="83" name="Afgeronde rechthoek 118"/>
            <p:cNvSpPr>
              <a:spLocks/>
            </p:cNvSpPr>
            <p:nvPr/>
          </p:nvSpPr>
          <p:spPr>
            <a:xfrm>
              <a:off x="123034" y="1477362"/>
              <a:ext cx="7817519" cy="986319"/>
            </a:xfrm>
            <a:prstGeom prst="roundRect">
              <a:avLst>
                <a:gd name="adj" fmla="val 6392"/>
              </a:avLst>
            </a:prstGeom>
            <a:solidFill>
              <a:srgbClr val="ADCDEC">
                <a:alpha val="80000"/>
              </a:srgbClr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50" b="0" kern="0" dirty="0" smtClean="0">
                <a:solidFill>
                  <a:srgbClr val="1F3B92"/>
                </a:solidFill>
                <a:latin typeface="Calibri"/>
                <a:cs typeface="Myriad Pro"/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289437" y="1728931"/>
              <a:ext cx="1829792" cy="5005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quirements</a:t>
              </a:r>
            </a:p>
          </p:txBody>
        </p:sp>
        <p:sp>
          <p:nvSpPr>
            <p:cNvPr id="66" name="Rectangle 65"/>
            <p:cNvSpPr/>
            <p:nvPr/>
          </p:nvSpPr>
          <p:spPr>
            <a:xfrm>
              <a:off x="2321583" y="1728931"/>
              <a:ext cx="1631842" cy="5005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sign</a:t>
              </a: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4200906" y="1728931"/>
              <a:ext cx="1795864" cy="5005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est Design &amp; Coverage</a:t>
              </a: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6263718" y="1520366"/>
              <a:ext cx="1300939" cy="5005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1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379126" y="1672766"/>
              <a:ext cx="1300939" cy="5005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00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468901" y="1799480"/>
              <a:ext cx="1300939" cy="5005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0" dirty="0" err="1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v</a:t>
              </a:r>
              <a:r>
                <a:rPr lang="en-US" sz="110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 </a:t>
              </a:r>
              <a:r>
                <a:rPr lang="en-US" sz="1100" kern="0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ooking &amp; Provision</a:t>
              </a:r>
            </a:p>
          </p:txBody>
        </p:sp>
        <p:cxnSp>
          <p:nvCxnSpPr>
            <p:cNvPr id="75" name="Straight Arrow Connector 74"/>
            <p:cNvCxnSpPr>
              <a:endCxn id="66" idx="1"/>
            </p:cNvCxnSpPr>
            <p:nvPr/>
          </p:nvCxnSpPr>
          <p:spPr bwMode="auto">
            <a:xfrm>
              <a:off x="2118095" y="1979181"/>
              <a:ext cx="203488" cy="1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77" name="Straight Arrow Connector 76"/>
            <p:cNvCxnSpPr/>
            <p:nvPr/>
          </p:nvCxnSpPr>
          <p:spPr bwMode="auto">
            <a:xfrm flipV="1">
              <a:off x="3948090" y="1979182"/>
              <a:ext cx="252815" cy="1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81" name="Elbow Connector 80"/>
            <p:cNvCxnSpPr>
              <a:stCxn id="67" idx="3"/>
              <a:endCxn id="72" idx="1"/>
            </p:cNvCxnSpPr>
            <p:nvPr/>
          </p:nvCxnSpPr>
          <p:spPr bwMode="auto">
            <a:xfrm flipV="1">
              <a:off x="5996770" y="1770616"/>
              <a:ext cx="266948" cy="208566"/>
            </a:xfrm>
            <a:prstGeom prst="bentConnector3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95" name="Freeform 94"/>
            <p:cNvSpPr/>
            <p:nvPr/>
          </p:nvSpPr>
          <p:spPr>
            <a:xfrm>
              <a:off x="348737" y="4601049"/>
              <a:ext cx="1620352" cy="446324"/>
            </a:xfrm>
            <a:custGeom>
              <a:avLst/>
              <a:gdLst>
                <a:gd name="connsiteX0" fmla="*/ 0 w 1521438"/>
                <a:gd name="connsiteY0" fmla="*/ 26897 h 161377"/>
                <a:gd name="connsiteX1" fmla="*/ 26897 w 1521438"/>
                <a:gd name="connsiteY1" fmla="*/ 0 h 161377"/>
                <a:gd name="connsiteX2" fmla="*/ 1494541 w 1521438"/>
                <a:gd name="connsiteY2" fmla="*/ 0 h 161377"/>
                <a:gd name="connsiteX3" fmla="*/ 1521438 w 1521438"/>
                <a:gd name="connsiteY3" fmla="*/ 26897 h 161377"/>
                <a:gd name="connsiteX4" fmla="*/ 1521438 w 1521438"/>
                <a:gd name="connsiteY4" fmla="*/ 134480 h 161377"/>
                <a:gd name="connsiteX5" fmla="*/ 1494541 w 1521438"/>
                <a:gd name="connsiteY5" fmla="*/ 161377 h 161377"/>
                <a:gd name="connsiteX6" fmla="*/ 26897 w 1521438"/>
                <a:gd name="connsiteY6" fmla="*/ 161377 h 161377"/>
                <a:gd name="connsiteX7" fmla="*/ 0 w 1521438"/>
                <a:gd name="connsiteY7" fmla="*/ 134480 h 161377"/>
                <a:gd name="connsiteX8" fmla="*/ 0 w 1521438"/>
                <a:gd name="connsiteY8" fmla="*/ 26897 h 1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1438" h="161377">
                  <a:moveTo>
                    <a:pt x="0" y="26897"/>
                  </a:moveTo>
                  <a:cubicBezTo>
                    <a:pt x="0" y="12042"/>
                    <a:pt x="12042" y="0"/>
                    <a:pt x="26897" y="0"/>
                  </a:cubicBezTo>
                  <a:lnTo>
                    <a:pt x="1494541" y="0"/>
                  </a:lnTo>
                  <a:cubicBezTo>
                    <a:pt x="1509396" y="0"/>
                    <a:pt x="1521438" y="12042"/>
                    <a:pt x="1521438" y="26897"/>
                  </a:cubicBezTo>
                  <a:lnTo>
                    <a:pt x="1521438" y="134480"/>
                  </a:lnTo>
                  <a:cubicBezTo>
                    <a:pt x="1521438" y="149335"/>
                    <a:pt x="1509396" y="161377"/>
                    <a:pt x="1494541" y="161377"/>
                  </a:cubicBezTo>
                  <a:lnTo>
                    <a:pt x="26897" y="161377"/>
                  </a:lnTo>
                  <a:cubicBezTo>
                    <a:pt x="12042" y="161377"/>
                    <a:pt x="0" y="149335"/>
                    <a:pt x="0" y="134480"/>
                  </a:cubicBezTo>
                  <a:lnTo>
                    <a:pt x="0" y="26897"/>
                  </a:lnTo>
                  <a:close/>
                </a:path>
              </a:pathLst>
            </a:custGeom>
            <a:solidFill>
              <a:srgbClr val="1F3B92"/>
            </a:solidFill>
            <a:ln>
              <a:solidFill>
                <a:schemeClr val="bg1"/>
              </a:solidFill>
            </a:ln>
            <a:effectLst/>
            <a:scene3d>
              <a:camera prst="orthographicFront"/>
              <a:lightRig rig="flat" dir="t"/>
            </a:scene3d>
            <a:sp3d prstMaterial="plastic"/>
          </p:spPr>
          <p:txBody>
            <a:bodyPr spcFirstLastPara="0" vert="horz" wrap="square" lIns="38358" tIns="0" rIns="38358" bIns="18288" numCol="1" spcCol="1270" anchor="ctr" anchorCtr="0">
              <a:noAutofit/>
            </a:bodyPr>
            <a:lstStyle/>
            <a:p>
              <a:pPr algn="ctr" defTabSz="3556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endParaRPr lang="en-US" sz="1100" b="0" kern="0" dirty="0" smtClean="0">
                <a:ln/>
                <a:solidFill>
                  <a:prstClr val="white"/>
                </a:solidFill>
                <a:latin typeface="Calibri"/>
                <a:cs typeface="Arial"/>
              </a:endParaRPr>
            </a:p>
          </p:txBody>
        </p:sp>
        <p:sp>
          <p:nvSpPr>
            <p:cNvPr id="107" name="Freeform 106"/>
            <p:cNvSpPr/>
            <p:nvPr/>
          </p:nvSpPr>
          <p:spPr>
            <a:xfrm>
              <a:off x="501137" y="4753449"/>
              <a:ext cx="1620352" cy="446324"/>
            </a:xfrm>
            <a:custGeom>
              <a:avLst/>
              <a:gdLst>
                <a:gd name="connsiteX0" fmla="*/ 0 w 1521438"/>
                <a:gd name="connsiteY0" fmla="*/ 26897 h 161377"/>
                <a:gd name="connsiteX1" fmla="*/ 26897 w 1521438"/>
                <a:gd name="connsiteY1" fmla="*/ 0 h 161377"/>
                <a:gd name="connsiteX2" fmla="*/ 1494541 w 1521438"/>
                <a:gd name="connsiteY2" fmla="*/ 0 h 161377"/>
                <a:gd name="connsiteX3" fmla="*/ 1521438 w 1521438"/>
                <a:gd name="connsiteY3" fmla="*/ 26897 h 161377"/>
                <a:gd name="connsiteX4" fmla="*/ 1521438 w 1521438"/>
                <a:gd name="connsiteY4" fmla="*/ 134480 h 161377"/>
                <a:gd name="connsiteX5" fmla="*/ 1494541 w 1521438"/>
                <a:gd name="connsiteY5" fmla="*/ 161377 h 161377"/>
                <a:gd name="connsiteX6" fmla="*/ 26897 w 1521438"/>
                <a:gd name="connsiteY6" fmla="*/ 161377 h 161377"/>
                <a:gd name="connsiteX7" fmla="*/ 0 w 1521438"/>
                <a:gd name="connsiteY7" fmla="*/ 134480 h 161377"/>
                <a:gd name="connsiteX8" fmla="*/ 0 w 1521438"/>
                <a:gd name="connsiteY8" fmla="*/ 26897 h 1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1438" h="161377">
                  <a:moveTo>
                    <a:pt x="0" y="26897"/>
                  </a:moveTo>
                  <a:cubicBezTo>
                    <a:pt x="0" y="12042"/>
                    <a:pt x="12042" y="0"/>
                    <a:pt x="26897" y="0"/>
                  </a:cubicBezTo>
                  <a:lnTo>
                    <a:pt x="1494541" y="0"/>
                  </a:lnTo>
                  <a:cubicBezTo>
                    <a:pt x="1509396" y="0"/>
                    <a:pt x="1521438" y="12042"/>
                    <a:pt x="1521438" y="26897"/>
                  </a:cubicBezTo>
                  <a:lnTo>
                    <a:pt x="1521438" y="134480"/>
                  </a:lnTo>
                  <a:cubicBezTo>
                    <a:pt x="1521438" y="149335"/>
                    <a:pt x="1509396" y="161377"/>
                    <a:pt x="1494541" y="161377"/>
                  </a:cubicBezTo>
                  <a:lnTo>
                    <a:pt x="26897" y="161377"/>
                  </a:lnTo>
                  <a:cubicBezTo>
                    <a:pt x="12042" y="161377"/>
                    <a:pt x="0" y="149335"/>
                    <a:pt x="0" y="134480"/>
                  </a:cubicBezTo>
                  <a:lnTo>
                    <a:pt x="0" y="26897"/>
                  </a:lnTo>
                  <a:close/>
                </a:path>
              </a:pathLst>
            </a:custGeom>
            <a:solidFill>
              <a:srgbClr val="1F3B92"/>
            </a:solidFill>
            <a:ln>
              <a:solidFill>
                <a:schemeClr val="bg1"/>
              </a:solidFill>
            </a:ln>
            <a:effectLst/>
            <a:scene3d>
              <a:camera prst="orthographicFront"/>
              <a:lightRig rig="flat" dir="t"/>
            </a:scene3d>
            <a:sp3d prstMaterial="plastic"/>
          </p:spPr>
          <p:txBody>
            <a:bodyPr spcFirstLastPara="0" vert="horz" wrap="square" lIns="38358" tIns="0" rIns="38358" bIns="18288" numCol="1" spcCol="1270" anchor="ctr" anchorCtr="0">
              <a:noAutofit/>
            </a:bodyPr>
            <a:lstStyle/>
            <a:p>
              <a:pPr algn="ctr" defTabSz="3556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endParaRPr lang="en-US" sz="1100" b="0" kern="0" dirty="0" smtClean="0">
                <a:ln/>
                <a:solidFill>
                  <a:prstClr val="white"/>
                </a:solidFill>
                <a:latin typeface="Calibri"/>
                <a:cs typeface="Arial"/>
              </a:endParaRPr>
            </a:p>
          </p:txBody>
        </p:sp>
        <p:sp>
          <p:nvSpPr>
            <p:cNvPr id="108" name="Freeform 107"/>
            <p:cNvSpPr/>
            <p:nvPr/>
          </p:nvSpPr>
          <p:spPr>
            <a:xfrm>
              <a:off x="653537" y="4905849"/>
              <a:ext cx="1620352" cy="446324"/>
            </a:xfrm>
            <a:custGeom>
              <a:avLst/>
              <a:gdLst>
                <a:gd name="connsiteX0" fmla="*/ 0 w 1521438"/>
                <a:gd name="connsiteY0" fmla="*/ 26897 h 161377"/>
                <a:gd name="connsiteX1" fmla="*/ 26897 w 1521438"/>
                <a:gd name="connsiteY1" fmla="*/ 0 h 161377"/>
                <a:gd name="connsiteX2" fmla="*/ 1494541 w 1521438"/>
                <a:gd name="connsiteY2" fmla="*/ 0 h 161377"/>
                <a:gd name="connsiteX3" fmla="*/ 1521438 w 1521438"/>
                <a:gd name="connsiteY3" fmla="*/ 26897 h 161377"/>
                <a:gd name="connsiteX4" fmla="*/ 1521438 w 1521438"/>
                <a:gd name="connsiteY4" fmla="*/ 134480 h 161377"/>
                <a:gd name="connsiteX5" fmla="*/ 1494541 w 1521438"/>
                <a:gd name="connsiteY5" fmla="*/ 161377 h 161377"/>
                <a:gd name="connsiteX6" fmla="*/ 26897 w 1521438"/>
                <a:gd name="connsiteY6" fmla="*/ 161377 h 161377"/>
                <a:gd name="connsiteX7" fmla="*/ 0 w 1521438"/>
                <a:gd name="connsiteY7" fmla="*/ 134480 h 161377"/>
                <a:gd name="connsiteX8" fmla="*/ 0 w 1521438"/>
                <a:gd name="connsiteY8" fmla="*/ 26897 h 1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1438" h="161377">
                  <a:moveTo>
                    <a:pt x="0" y="26897"/>
                  </a:moveTo>
                  <a:cubicBezTo>
                    <a:pt x="0" y="12042"/>
                    <a:pt x="12042" y="0"/>
                    <a:pt x="26897" y="0"/>
                  </a:cubicBezTo>
                  <a:lnTo>
                    <a:pt x="1494541" y="0"/>
                  </a:lnTo>
                  <a:cubicBezTo>
                    <a:pt x="1509396" y="0"/>
                    <a:pt x="1521438" y="12042"/>
                    <a:pt x="1521438" y="26897"/>
                  </a:cubicBezTo>
                  <a:lnTo>
                    <a:pt x="1521438" y="134480"/>
                  </a:lnTo>
                  <a:cubicBezTo>
                    <a:pt x="1521438" y="149335"/>
                    <a:pt x="1509396" y="161377"/>
                    <a:pt x="1494541" y="161377"/>
                  </a:cubicBezTo>
                  <a:lnTo>
                    <a:pt x="26897" y="161377"/>
                  </a:lnTo>
                  <a:cubicBezTo>
                    <a:pt x="12042" y="161377"/>
                    <a:pt x="0" y="149335"/>
                    <a:pt x="0" y="134480"/>
                  </a:cubicBezTo>
                  <a:lnTo>
                    <a:pt x="0" y="26897"/>
                  </a:lnTo>
                  <a:close/>
                </a:path>
              </a:pathLst>
            </a:custGeom>
            <a:solidFill>
              <a:srgbClr val="1F3B92"/>
            </a:solidFill>
            <a:ln>
              <a:solidFill>
                <a:schemeClr val="bg1"/>
              </a:solidFill>
            </a:ln>
            <a:effectLst/>
            <a:scene3d>
              <a:camera prst="orthographicFront"/>
              <a:lightRig rig="flat" dir="t"/>
            </a:scene3d>
            <a:sp3d prstMaterial="plastic"/>
          </p:spPr>
          <p:txBody>
            <a:bodyPr spcFirstLastPara="0" vert="horz" wrap="square" lIns="38358" tIns="0" rIns="38358" bIns="18288" numCol="1" spcCol="1270" anchor="ctr" anchorCtr="0">
              <a:noAutofit/>
            </a:bodyPr>
            <a:lstStyle/>
            <a:p>
              <a:pPr algn="ctr" defTabSz="3556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endParaRPr lang="en-US" sz="1100" b="0" kern="0" dirty="0" smtClean="0">
                <a:ln/>
                <a:solidFill>
                  <a:prstClr val="white"/>
                </a:solidFill>
                <a:latin typeface="Calibri"/>
                <a:cs typeface="Arial"/>
              </a:endParaRPr>
            </a:p>
          </p:txBody>
        </p:sp>
        <p:sp>
          <p:nvSpPr>
            <p:cNvPr id="109" name="Freeform 108"/>
            <p:cNvSpPr/>
            <p:nvPr/>
          </p:nvSpPr>
          <p:spPr>
            <a:xfrm>
              <a:off x="805936" y="5058249"/>
              <a:ext cx="1620352" cy="438364"/>
            </a:xfrm>
            <a:custGeom>
              <a:avLst/>
              <a:gdLst>
                <a:gd name="connsiteX0" fmla="*/ 0 w 1521438"/>
                <a:gd name="connsiteY0" fmla="*/ 26897 h 161377"/>
                <a:gd name="connsiteX1" fmla="*/ 26897 w 1521438"/>
                <a:gd name="connsiteY1" fmla="*/ 0 h 161377"/>
                <a:gd name="connsiteX2" fmla="*/ 1494541 w 1521438"/>
                <a:gd name="connsiteY2" fmla="*/ 0 h 161377"/>
                <a:gd name="connsiteX3" fmla="*/ 1521438 w 1521438"/>
                <a:gd name="connsiteY3" fmla="*/ 26897 h 161377"/>
                <a:gd name="connsiteX4" fmla="*/ 1521438 w 1521438"/>
                <a:gd name="connsiteY4" fmla="*/ 134480 h 161377"/>
                <a:gd name="connsiteX5" fmla="*/ 1494541 w 1521438"/>
                <a:gd name="connsiteY5" fmla="*/ 161377 h 161377"/>
                <a:gd name="connsiteX6" fmla="*/ 26897 w 1521438"/>
                <a:gd name="connsiteY6" fmla="*/ 161377 h 161377"/>
                <a:gd name="connsiteX7" fmla="*/ 0 w 1521438"/>
                <a:gd name="connsiteY7" fmla="*/ 134480 h 161377"/>
                <a:gd name="connsiteX8" fmla="*/ 0 w 1521438"/>
                <a:gd name="connsiteY8" fmla="*/ 26897 h 1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1438" h="161377">
                  <a:moveTo>
                    <a:pt x="0" y="26897"/>
                  </a:moveTo>
                  <a:cubicBezTo>
                    <a:pt x="0" y="12042"/>
                    <a:pt x="12042" y="0"/>
                    <a:pt x="26897" y="0"/>
                  </a:cubicBezTo>
                  <a:lnTo>
                    <a:pt x="1494541" y="0"/>
                  </a:lnTo>
                  <a:cubicBezTo>
                    <a:pt x="1509396" y="0"/>
                    <a:pt x="1521438" y="12042"/>
                    <a:pt x="1521438" y="26897"/>
                  </a:cubicBezTo>
                  <a:lnTo>
                    <a:pt x="1521438" y="134480"/>
                  </a:lnTo>
                  <a:cubicBezTo>
                    <a:pt x="1521438" y="149335"/>
                    <a:pt x="1509396" y="161377"/>
                    <a:pt x="1494541" y="161377"/>
                  </a:cubicBezTo>
                  <a:lnTo>
                    <a:pt x="26897" y="161377"/>
                  </a:lnTo>
                  <a:cubicBezTo>
                    <a:pt x="12042" y="161377"/>
                    <a:pt x="0" y="149335"/>
                    <a:pt x="0" y="134480"/>
                  </a:cubicBezTo>
                  <a:lnTo>
                    <a:pt x="0" y="26897"/>
                  </a:lnTo>
                  <a:close/>
                </a:path>
              </a:pathLst>
            </a:custGeom>
            <a:solidFill>
              <a:srgbClr val="1F3B92"/>
            </a:solidFill>
            <a:ln>
              <a:solidFill>
                <a:schemeClr val="bg1"/>
              </a:solidFill>
            </a:ln>
            <a:effectLst/>
            <a:scene3d>
              <a:camera prst="orthographicFront"/>
              <a:lightRig rig="flat" dir="t"/>
            </a:scene3d>
            <a:sp3d prstMaterial="plastic"/>
          </p:spPr>
          <p:txBody>
            <a:bodyPr spcFirstLastPara="0" vert="horz" wrap="square" lIns="38358" tIns="0" rIns="38358" bIns="18288" numCol="1" spcCol="1270" anchor="ctr" anchorCtr="0">
              <a:noAutofit/>
            </a:bodyPr>
            <a:lstStyle/>
            <a:p>
              <a:pPr algn="ctr" defTabSz="3556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1100" b="0" kern="0" dirty="0" smtClean="0">
                  <a:ln/>
                  <a:solidFill>
                    <a:prstClr val="white"/>
                  </a:solidFill>
                  <a:latin typeface="Calibri"/>
                  <a:cs typeface="Arial"/>
                </a:rPr>
                <a:t>APPLICATION BUILD</a:t>
              </a:r>
            </a:p>
          </p:txBody>
        </p:sp>
        <p:sp>
          <p:nvSpPr>
            <p:cNvPr id="110" name="Freeform 109"/>
            <p:cNvSpPr/>
            <p:nvPr/>
          </p:nvSpPr>
          <p:spPr>
            <a:xfrm>
              <a:off x="2449352" y="4593172"/>
              <a:ext cx="1620352" cy="446324"/>
            </a:xfrm>
            <a:custGeom>
              <a:avLst/>
              <a:gdLst>
                <a:gd name="connsiteX0" fmla="*/ 0 w 1521438"/>
                <a:gd name="connsiteY0" fmla="*/ 26897 h 161377"/>
                <a:gd name="connsiteX1" fmla="*/ 26897 w 1521438"/>
                <a:gd name="connsiteY1" fmla="*/ 0 h 161377"/>
                <a:gd name="connsiteX2" fmla="*/ 1494541 w 1521438"/>
                <a:gd name="connsiteY2" fmla="*/ 0 h 161377"/>
                <a:gd name="connsiteX3" fmla="*/ 1521438 w 1521438"/>
                <a:gd name="connsiteY3" fmla="*/ 26897 h 161377"/>
                <a:gd name="connsiteX4" fmla="*/ 1521438 w 1521438"/>
                <a:gd name="connsiteY4" fmla="*/ 134480 h 161377"/>
                <a:gd name="connsiteX5" fmla="*/ 1494541 w 1521438"/>
                <a:gd name="connsiteY5" fmla="*/ 161377 h 161377"/>
                <a:gd name="connsiteX6" fmla="*/ 26897 w 1521438"/>
                <a:gd name="connsiteY6" fmla="*/ 161377 h 161377"/>
                <a:gd name="connsiteX7" fmla="*/ 0 w 1521438"/>
                <a:gd name="connsiteY7" fmla="*/ 134480 h 161377"/>
                <a:gd name="connsiteX8" fmla="*/ 0 w 1521438"/>
                <a:gd name="connsiteY8" fmla="*/ 26897 h 1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1438" h="161377">
                  <a:moveTo>
                    <a:pt x="0" y="26897"/>
                  </a:moveTo>
                  <a:cubicBezTo>
                    <a:pt x="0" y="12042"/>
                    <a:pt x="12042" y="0"/>
                    <a:pt x="26897" y="0"/>
                  </a:cubicBezTo>
                  <a:lnTo>
                    <a:pt x="1494541" y="0"/>
                  </a:lnTo>
                  <a:cubicBezTo>
                    <a:pt x="1509396" y="0"/>
                    <a:pt x="1521438" y="12042"/>
                    <a:pt x="1521438" y="26897"/>
                  </a:cubicBezTo>
                  <a:lnTo>
                    <a:pt x="1521438" y="134480"/>
                  </a:lnTo>
                  <a:cubicBezTo>
                    <a:pt x="1521438" y="149335"/>
                    <a:pt x="1509396" y="161377"/>
                    <a:pt x="1494541" y="161377"/>
                  </a:cubicBezTo>
                  <a:lnTo>
                    <a:pt x="26897" y="161377"/>
                  </a:lnTo>
                  <a:cubicBezTo>
                    <a:pt x="12042" y="161377"/>
                    <a:pt x="0" y="149335"/>
                    <a:pt x="0" y="134480"/>
                  </a:cubicBezTo>
                  <a:lnTo>
                    <a:pt x="0" y="26897"/>
                  </a:lnTo>
                  <a:close/>
                </a:path>
              </a:pathLst>
            </a:custGeom>
            <a:solidFill>
              <a:srgbClr val="1F3B92"/>
            </a:solidFill>
            <a:ln>
              <a:solidFill>
                <a:schemeClr val="bg1"/>
              </a:solidFill>
            </a:ln>
            <a:effectLst/>
            <a:scene3d>
              <a:camera prst="orthographicFront"/>
              <a:lightRig rig="flat" dir="t"/>
            </a:scene3d>
            <a:sp3d prstMaterial="plastic"/>
          </p:spPr>
          <p:txBody>
            <a:bodyPr spcFirstLastPara="0" vert="horz" wrap="square" lIns="38358" tIns="0" rIns="38358" bIns="18288" numCol="1" spcCol="1270" anchor="ctr" anchorCtr="0">
              <a:noAutofit/>
            </a:bodyPr>
            <a:lstStyle/>
            <a:p>
              <a:pPr algn="ctr" defTabSz="3556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endParaRPr lang="en-US" sz="1100" b="0" kern="0" dirty="0" smtClean="0">
                <a:ln/>
                <a:solidFill>
                  <a:prstClr val="white"/>
                </a:solidFill>
                <a:latin typeface="Calibri"/>
                <a:cs typeface="Arial"/>
              </a:endParaRPr>
            </a:p>
          </p:txBody>
        </p:sp>
        <p:sp>
          <p:nvSpPr>
            <p:cNvPr id="111" name="Freeform 110"/>
            <p:cNvSpPr/>
            <p:nvPr/>
          </p:nvSpPr>
          <p:spPr>
            <a:xfrm>
              <a:off x="2601752" y="4745572"/>
              <a:ext cx="1620352" cy="446324"/>
            </a:xfrm>
            <a:custGeom>
              <a:avLst/>
              <a:gdLst>
                <a:gd name="connsiteX0" fmla="*/ 0 w 1521438"/>
                <a:gd name="connsiteY0" fmla="*/ 26897 h 161377"/>
                <a:gd name="connsiteX1" fmla="*/ 26897 w 1521438"/>
                <a:gd name="connsiteY1" fmla="*/ 0 h 161377"/>
                <a:gd name="connsiteX2" fmla="*/ 1494541 w 1521438"/>
                <a:gd name="connsiteY2" fmla="*/ 0 h 161377"/>
                <a:gd name="connsiteX3" fmla="*/ 1521438 w 1521438"/>
                <a:gd name="connsiteY3" fmla="*/ 26897 h 161377"/>
                <a:gd name="connsiteX4" fmla="*/ 1521438 w 1521438"/>
                <a:gd name="connsiteY4" fmla="*/ 134480 h 161377"/>
                <a:gd name="connsiteX5" fmla="*/ 1494541 w 1521438"/>
                <a:gd name="connsiteY5" fmla="*/ 161377 h 161377"/>
                <a:gd name="connsiteX6" fmla="*/ 26897 w 1521438"/>
                <a:gd name="connsiteY6" fmla="*/ 161377 h 161377"/>
                <a:gd name="connsiteX7" fmla="*/ 0 w 1521438"/>
                <a:gd name="connsiteY7" fmla="*/ 134480 h 161377"/>
                <a:gd name="connsiteX8" fmla="*/ 0 w 1521438"/>
                <a:gd name="connsiteY8" fmla="*/ 26897 h 1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1438" h="161377">
                  <a:moveTo>
                    <a:pt x="0" y="26897"/>
                  </a:moveTo>
                  <a:cubicBezTo>
                    <a:pt x="0" y="12042"/>
                    <a:pt x="12042" y="0"/>
                    <a:pt x="26897" y="0"/>
                  </a:cubicBezTo>
                  <a:lnTo>
                    <a:pt x="1494541" y="0"/>
                  </a:lnTo>
                  <a:cubicBezTo>
                    <a:pt x="1509396" y="0"/>
                    <a:pt x="1521438" y="12042"/>
                    <a:pt x="1521438" y="26897"/>
                  </a:cubicBezTo>
                  <a:lnTo>
                    <a:pt x="1521438" y="134480"/>
                  </a:lnTo>
                  <a:cubicBezTo>
                    <a:pt x="1521438" y="149335"/>
                    <a:pt x="1509396" y="161377"/>
                    <a:pt x="1494541" y="161377"/>
                  </a:cubicBezTo>
                  <a:lnTo>
                    <a:pt x="26897" y="161377"/>
                  </a:lnTo>
                  <a:cubicBezTo>
                    <a:pt x="12042" y="161377"/>
                    <a:pt x="0" y="149335"/>
                    <a:pt x="0" y="134480"/>
                  </a:cubicBezTo>
                  <a:lnTo>
                    <a:pt x="0" y="26897"/>
                  </a:lnTo>
                  <a:close/>
                </a:path>
              </a:pathLst>
            </a:custGeom>
            <a:solidFill>
              <a:srgbClr val="1F3B92"/>
            </a:solidFill>
            <a:ln>
              <a:solidFill>
                <a:schemeClr val="bg1"/>
              </a:solidFill>
            </a:ln>
            <a:effectLst/>
            <a:scene3d>
              <a:camera prst="orthographicFront"/>
              <a:lightRig rig="flat" dir="t"/>
            </a:scene3d>
            <a:sp3d prstMaterial="plastic"/>
          </p:spPr>
          <p:txBody>
            <a:bodyPr spcFirstLastPara="0" vert="horz" wrap="square" lIns="38358" tIns="0" rIns="38358" bIns="18288" numCol="1" spcCol="1270" anchor="ctr" anchorCtr="0">
              <a:noAutofit/>
            </a:bodyPr>
            <a:lstStyle/>
            <a:p>
              <a:pPr algn="ctr" defTabSz="3556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endParaRPr lang="en-US" sz="1100" b="0" kern="0" dirty="0" smtClean="0">
                <a:ln/>
                <a:solidFill>
                  <a:prstClr val="white"/>
                </a:solidFill>
                <a:latin typeface="Calibri"/>
                <a:cs typeface="Arial"/>
              </a:endParaRPr>
            </a:p>
          </p:txBody>
        </p:sp>
        <p:sp>
          <p:nvSpPr>
            <p:cNvPr id="112" name="Freeform 111"/>
            <p:cNvSpPr/>
            <p:nvPr/>
          </p:nvSpPr>
          <p:spPr>
            <a:xfrm>
              <a:off x="2754152" y="4897972"/>
              <a:ext cx="1620352" cy="446324"/>
            </a:xfrm>
            <a:custGeom>
              <a:avLst/>
              <a:gdLst>
                <a:gd name="connsiteX0" fmla="*/ 0 w 1521438"/>
                <a:gd name="connsiteY0" fmla="*/ 26897 h 161377"/>
                <a:gd name="connsiteX1" fmla="*/ 26897 w 1521438"/>
                <a:gd name="connsiteY1" fmla="*/ 0 h 161377"/>
                <a:gd name="connsiteX2" fmla="*/ 1494541 w 1521438"/>
                <a:gd name="connsiteY2" fmla="*/ 0 h 161377"/>
                <a:gd name="connsiteX3" fmla="*/ 1521438 w 1521438"/>
                <a:gd name="connsiteY3" fmla="*/ 26897 h 161377"/>
                <a:gd name="connsiteX4" fmla="*/ 1521438 w 1521438"/>
                <a:gd name="connsiteY4" fmla="*/ 134480 h 161377"/>
                <a:gd name="connsiteX5" fmla="*/ 1494541 w 1521438"/>
                <a:gd name="connsiteY5" fmla="*/ 161377 h 161377"/>
                <a:gd name="connsiteX6" fmla="*/ 26897 w 1521438"/>
                <a:gd name="connsiteY6" fmla="*/ 161377 h 161377"/>
                <a:gd name="connsiteX7" fmla="*/ 0 w 1521438"/>
                <a:gd name="connsiteY7" fmla="*/ 134480 h 161377"/>
                <a:gd name="connsiteX8" fmla="*/ 0 w 1521438"/>
                <a:gd name="connsiteY8" fmla="*/ 26897 h 1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1438" h="161377">
                  <a:moveTo>
                    <a:pt x="0" y="26897"/>
                  </a:moveTo>
                  <a:cubicBezTo>
                    <a:pt x="0" y="12042"/>
                    <a:pt x="12042" y="0"/>
                    <a:pt x="26897" y="0"/>
                  </a:cubicBezTo>
                  <a:lnTo>
                    <a:pt x="1494541" y="0"/>
                  </a:lnTo>
                  <a:cubicBezTo>
                    <a:pt x="1509396" y="0"/>
                    <a:pt x="1521438" y="12042"/>
                    <a:pt x="1521438" y="26897"/>
                  </a:cubicBezTo>
                  <a:lnTo>
                    <a:pt x="1521438" y="134480"/>
                  </a:lnTo>
                  <a:cubicBezTo>
                    <a:pt x="1521438" y="149335"/>
                    <a:pt x="1509396" y="161377"/>
                    <a:pt x="1494541" y="161377"/>
                  </a:cubicBezTo>
                  <a:lnTo>
                    <a:pt x="26897" y="161377"/>
                  </a:lnTo>
                  <a:cubicBezTo>
                    <a:pt x="12042" y="161377"/>
                    <a:pt x="0" y="149335"/>
                    <a:pt x="0" y="134480"/>
                  </a:cubicBezTo>
                  <a:lnTo>
                    <a:pt x="0" y="26897"/>
                  </a:lnTo>
                  <a:close/>
                </a:path>
              </a:pathLst>
            </a:custGeom>
            <a:solidFill>
              <a:srgbClr val="1F3B92"/>
            </a:solidFill>
            <a:ln>
              <a:solidFill>
                <a:schemeClr val="bg1"/>
              </a:solidFill>
            </a:ln>
            <a:effectLst/>
            <a:scene3d>
              <a:camera prst="orthographicFront"/>
              <a:lightRig rig="flat" dir="t"/>
            </a:scene3d>
            <a:sp3d prstMaterial="plastic"/>
          </p:spPr>
          <p:txBody>
            <a:bodyPr spcFirstLastPara="0" vert="horz" wrap="square" lIns="38358" tIns="0" rIns="38358" bIns="18288" numCol="1" spcCol="1270" anchor="ctr" anchorCtr="0">
              <a:noAutofit/>
            </a:bodyPr>
            <a:lstStyle/>
            <a:p>
              <a:pPr algn="ctr" defTabSz="3556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endParaRPr lang="en-US" sz="1100" b="0" kern="0" dirty="0" smtClean="0">
                <a:ln/>
                <a:solidFill>
                  <a:prstClr val="white"/>
                </a:solidFill>
                <a:latin typeface="Calibri"/>
                <a:cs typeface="Arial"/>
              </a:endParaRPr>
            </a:p>
          </p:txBody>
        </p:sp>
        <p:sp>
          <p:nvSpPr>
            <p:cNvPr id="113" name="Freeform 112"/>
            <p:cNvSpPr/>
            <p:nvPr/>
          </p:nvSpPr>
          <p:spPr>
            <a:xfrm>
              <a:off x="2906552" y="5050372"/>
              <a:ext cx="1620352" cy="446241"/>
            </a:xfrm>
            <a:custGeom>
              <a:avLst/>
              <a:gdLst>
                <a:gd name="connsiteX0" fmla="*/ 0 w 1521438"/>
                <a:gd name="connsiteY0" fmla="*/ 26897 h 161377"/>
                <a:gd name="connsiteX1" fmla="*/ 26897 w 1521438"/>
                <a:gd name="connsiteY1" fmla="*/ 0 h 161377"/>
                <a:gd name="connsiteX2" fmla="*/ 1494541 w 1521438"/>
                <a:gd name="connsiteY2" fmla="*/ 0 h 161377"/>
                <a:gd name="connsiteX3" fmla="*/ 1521438 w 1521438"/>
                <a:gd name="connsiteY3" fmla="*/ 26897 h 161377"/>
                <a:gd name="connsiteX4" fmla="*/ 1521438 w 1521438"/>
                <a:gd name="connsiteY4" fmla="*/ 134480 h 161377"/>
                <a:gd name="connsiteX5" fmla="*/ 1494541 w 1521438"/>
                <a:gd name="connsiteY5" fmla="*/ 161377 h 161377"/>
                <a:gd name="connsiteX6" fmla="*/ 26897 w 1521438"/>
                <a:gd name="connsiteY6" fmla="*/ 161377 h 161377"/>
                <a:gd name="connsiteX7" fmla="*/ 0 w 1521438"/>
                <a:gd name="connsiteY7" fmla="*/ 134480 h 161377"/>
                <a:gd name="connsiteX8" fmla="*/ 0 w 1521438"/>
                <a:gd name="connsiteY8" fmla="*/ 26897 h 1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1438" h="161377">
                  <a:moveTo>
                    <a:pt x="0" y="26897"/>
                  </a:moveTo>
                  <a:cubicBezTo>
                    <a:pt x="0" y="12042"/>
                    <a:pt x="12042" y="0"/>
                    <a:pt x="26897" y="0"/>
                  </a:cubicBezTo>
                  <a:lnTo>
                    <a:pt x="1494541" y="0"/>
                  </a:lnTo>
                  <a:cubicBezTo>
                    <a:pt x="1509396" y="0"/>
                    <a:pt x="1521438" y="12042"/>
                    <a:pt x="1521438" y="26897"/>
                  </a:cubicBezTo>
                  <a:lnTo>
                    <a:pt x="1521438" y="134480"/>
                  </a:lnTo>
                  <a:cubicBezTo>
                    <a:pt x="1521438" y="149335"/>
                    <a:pt x="1509396" y="161377"/>
                    <a:pt x="1494541" y="161377"/>
                  </a:cubicBezTo>
                  <a:lnTo>
                    <a:pt x="26897" y="161377"/>
                  </a:lnTo>
                  <a:cubicBezTo>
                    <a:pt x="12042" y="161377"/>
                    <a:pt x="0" y="149335"/>
                    <a:pt x="0" y="134480"/>
                  </a:cubicBezTo>
                  <a:lnTo>
                    <a:pt x="0" y="26897"/>
                  </a:lnTo>
                  <a:close/>
                </a:path>
              </a:pathLst>
            </a:custGeom>
            <a:solidFill>
              <a:srgbClr val="1F3B92"/>
            </a:solidFill>
            <a:ln>
              <a:solidFill>
                <a:schemeClr val="bg1"/>
              </a:solidFill>
            </a:ln>
            <a:effectLst/>
            <a:scene3d>
              <a:camera prst="orthographicFront"/>
              <a:lightRig rig="flat" dir="t"/>
            </a:scene3d>
            <a:sp3d prstMaterial="plastic"/>
          </p:spPr>
          <p:txBody>
            <a:bodyPr spcFirstLastPara="0" vert="horz" wrap="square" lIns="38358" tIns="0" rIns="38358" bIns="18288" numCol="1" spcCol="1270" anchor="ctr" anchorCtr="0">
              <a:noAutofit/>
            </a:bodyPr>
            <a:lstStyle/>
            <a:p>
              <a:pPr algn="ctr" defTabSz="3556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1100" b="0" kern="0" dirty="0" smtClean="0">
                  <a:ln/>
                  <a:solidFill>
                    <a:prstClr val="white"/>
                  </a:solidFill>
                  <a:latin typeface="Calibri"/>
                  <a:cs typeface="Arial"/>
                </a:rPr>
                <a:t>APPLICATION DEPLOYMENT</a:t>
              </a:r>
            </a:p>
          </p:txBody>
        </p:sp>
        <p:sp>
          <p:nvSpPr>
            <p:cNvPr id="114" name="Freeform 113"/>
            <p:cNvSpPr/>
            <p:nvPr/>
          </p:nvSpPr>
          <p:spPr>
            <a:xfrm>
              <a:off x="4500646" y="4597624"/>
              <a:ext cx="1620352" cy="446324"/>
            </a:xfrm>
            <a:custGeom>
              <a:avLst/>
              <a:gdLst>
                <a:gd name="connsiteX0" fmla="*/ 0 w 1521438"/>
                <a:gd name="connsiteY0" fmla="*/ 26897 h 161377"/>
                <a:gd name="connsiteX1" fmla="*/ 26897 w 1521438"/>
                <a:gd name="connsiteY1" fmla="*/ 0 h 161377"/>
                <a:gd name="connsiteX2" fmla="*/ 1494541 w 1521438"/>
                <a:gd name="connsiteY2" fmla="*/ 0 h 161377"/>
                <a:gd name="connsiteX3" fmla="*/ 1521438 w 1521438"/>
                <a:gd name="connsiteY3" fmla="*/ 26897 h 161377"/>
                <a:gd name="connsiteX4" fmla="*/ 1521438 w 1521438"/>
                <a:gd name="connsiteY4" fmla="*/ 134480 h 161377"/>
                <a:gd name="connsiteX5" fmla="*/ 1494541 w 1521438"/>
                <a:gd name="connsiteY5" fmla="*/ 161377 h 161377"/>
                <a:gd name="connsiteX6" fmla="*/ 26897 w 1521438"/>
                <a:gd name="connsiteY6" fmla="*/ 161377 h 161377"/>
                <a:gd name="connsiteX7" fmla="*/ 0 w 1521438"/>
                <a:gd name="connsiteY7" fmla="*/ 134480 h 161377"/>
                <a:gd name="connsiteX8" fmla="*/ 0 w 1521438"/>
                <a:gd name="connsiteY8" fmla="*/ 26897 h 1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1438" h="161377">
                  <a:moveTo>
                    <a:pt x="0" y="26897"/>
                  </a:moveTo>
                  <a:cubicBezTo>
                    <a:pt x="0" y="12042"/>
                    <a:pt x="12042" y="0"/>
                    <a:pt x="26897" y="0"/>
                  </a:cubicBezTo>
                  <a:lnTo>
                    <a:pt x="1494541" y="0"/>
                  </a:lnTo>
                  <a:cubicBezTo>
                    <a:pt x="1509396" y="0"/>
                    <a:pt x="1521438" y="12042"/>
                    <a:pt x="1521438" y="26897"/>
                  </a:cubicBezTo>
                  <a:lnTo>
                    <a:pt x="1521438" y="134480"/>
                  </a:lnTo>
                  <a:cubicBezTo>
                    <a:pt x="1521438" y="149335"/>
                    <a:pt x="1509396" y="161377"/>
                    <a:pt x="1494541" y="161377"/>
                  </a:cubicBezTo>
                  <a:lnTo>
                    <a:pt x="26897" y="161377"/>
                  </a:lnTo>
                  <a:cubicBezTo>
                    <a:pt x="12042" y="161377"/>
                    <a:pt x="0" y="149335"/>
                    <a:pt x="0" y="134480"/>
                  </a:cubicBezTo>
                  <a:lnTo>
                    <a:pt x="0" y="26897"/>
                  </a:lnTo>
                  <a:close/>
                </a:path>
              </a:pathLst>
            </a:custGeom>
            <a:solidFill>
              <a:srgbClr val="1F3B92"/>
            </a:solidFill>
            <a:ln>
              <a:solidFill>
                <a:schemeClr val="bg1"/>
              </a:solidFill>
            </a:ln>
            <a:effectLst/>
            <a:scene3d>
              <a:camera prst="orthographicFront"/>
              <a:lightRig rig="flat" dir="t"/>
            </a:scene3d>
            <a:sp3d prstMaterial="plastic"/>
          </p:spPr>
          <p:txBody>
            <a:bodyPr spcFirstLastPara="0" vert="horz" wrap="square" lIns="38358" tIns="0" rIns="38358" bIns="18288" numCol="1" spcCol="1270" anchor="ctr" anchorCtr="0">
              <a:noAutofit/>
            </a:bodyPr>
            <a:lstStyle/>
            <a:p>
              <a:pPr algn="ctr" defTabSz="3556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endParaRPr lang="en-US" sz="1100" b="0" kern="0" dirty="0" smtClean="0">
                <a:ln/>
                <a:solidFill>
                  <a:prstClr val="white"/>
                </a:solidFill>
                <a:latin typeface="Calibri"/>
                <a:cs typeface="Arial"/>
              </a:endParaRPr>
            </a:p>
          </p:txBody>
        </p:sp>
        <p:sp>
          <p:nvSpPr>
            <p:cNvPr id="115" name="Freeform 114"/>
            <p:cNvSpPr/>
            <p:nvPr/>
          </p:nvSpPr>
          <p:spPr>
            <a:xfrm>
              <a:off x="4653046" y="4750024"/>
              <a:ext cx="1620352" cy="446324"/>
            </a:xfrm>
            <a:custGeom>
              <a:avLst/>
              <a:gdLst>
                <a:gd name="connsiteX0" fmla="*/ 0 w 1521438"/>
                <a:gd name="connsiteY0" fmla="*/ 26897 h 161377"/>
                <a:gd name="connsiteX1" fmla="*/ 26897 w 1521438"/>
                <a:gd name="connsiteY1" fmla="*/ 0 h 161377"/>
                <a:gd name="connsiteX2" fmla="*/ 1494541 w 1521438"/>
                <a:gd name="connsiteY2" fmla="*/ 0 h 161377"/>
                <a:gd name="connsiteX3" fmla="*/ 1521438 w 1521438"/>
                <a:gd name="connsiteY3" fmla="*/ 26897 h 161377"/>
                <a:gd name="connsiteX4" fmla="*/ 1521438 w 1521438"/>
                <a:gd name="connsiteY4" fmla="*/ 134480 h 161377"/>
                <a:gd name="connsiteX5" fmla="*/ 1494541 w 1521438"/>
                <a:gd name="connsiteY5" fmla="*/ 161377 h 161377"/>
                <a:gd name="connsiteX6" fmla="*/ 26897 w 1521438"/>
                <a:gd name="connsiteY6" fmla="*/ 161377 h 161377"/>
                <a:gd name="connsiteX7" fmla="*/ 0 w 1521438"/>
                <a:gd name="connsiteY7" fmla="*/ 134480 h 161377"/>
                <a:gd name="connsiteX8" fmla="*/ 0 w 1521438"/>
                <a:gd name="connsiteY8" fmla="*/ 26897 h 1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1438" h="161377">
                  <a:moveTo>
                    <a:pt x="0" y="26897"/>
                  </a:moveTo>
                  <a:cubicBezTo>
                    <a:pt x="0" y="12042"/>
                    <a:pt x="12042" y="0"/>
                    <a:pt x="26897" y="0"/>
                  </a:cubicBezTo>
                  <a:lnTo>
                    <a:pt x="1494541" y="0"/>
                  </a:lnTo>
                  <a:cubicBezTo>
                    <a:pt x="1509396" y="0"/>
                    <a:pt x="1521438" y="12042"/>
                    <a:pt x="1521438" y="26897"/>
                  </a:cubicBezTo>
                  <a:lnTo>
                    <a:pt x="1521438" y="134480"/>
                  </a:lnTo>
                  <a:cubicBezTo>
                    <a:pt x="1521438" y="149335"/>
                    <a:pt x="1509396" y="161377"/>
                    <a:pt x="1494541" y="161377"/>
                  </a:cubicBezTo>
                  <a:lnTo>
                    <a:pt x="26897" y="161377"/>
                  </a:lnTo>
                  <a:cubicBezTo>
                    <a:pt x="12042" y="161377"/>
                    <a:pt x="0" y="149335"/>
                    <a:pt x="0" y="134480"/>
                  </a:cubicBezTo>
                  <a:lnTo>
                    <a:pt x="0" y="26897"/>
                  </a:lnTo>
                  <a:close/>
                </a:path>
              </a:pathLst>
            </a:custGeom>
            <a:solidFill>
              <a:srgbClr val="1F3B92"/>
            </a:solidFill>
            <a:ln>
              <a:solidFill>
                <a:schemeClr val="bg1"/>
              </a:solidFill>
            </a:ln>
            <a:effectLst/>
            <a:scene3d>
              <a:camera prst="orthographicFront"/>
              <a:lightRig rig="flat" dir="t"/>
            </a:scene3d>
            <a:sp3d prstMaterial="plastic"/>
          </p:spPr>
          <p:txBody>
            <a:bodyPr spcFirstLastPara="0" vert="horz" wrap="square" lIns="38358" tIns="0" rIns="38358" bIns="18288" numCol="1" spcCol="1270" anchor="ctr" anchorCtr="0">
              <a:noAutofit/>
            </a:bodyPr>
            <a:lstStyle/>
            <a:p>
              <a:pPr algn="ctr" defTabSz="3556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endParaRPr lang="en-US" sz="1100" b="0" kern="0" dirty="0" smtClean="0">
                <a:ln/>
                <a:solidFill>
                  <a:prstClr val="white"/>
                </a:solidFill>
                <a:latin typeface="Calibri"/>
                <a:cs typeface="Arial"/>
              </a:endParaRPr>
            </a:p>
          </p:txBody>
        </p:sp>
        <p:sp>
          <p:nvSpPr>
            <p:cNvPr id="116" name="Freeform 115"/>
            <p:cNvSpPr/>
            <p:nvPr/>
          </p:nvSpPr>
          <p:spPr>
            <a:xfrm>
              <a:off x="4805446" y="4902424"/>
              <a:ext cx="1620352" cy="446324"/>
            </a:xfrm>
            <a:custGeom>
              <a:avLst/>
              <a:gdLst>
                <a:gd name="connsiteX0" fmla="*/ 0 w 1521438"/>
                <a:gd name="connsiteY0" fmla="*/ 26897 h 161377"/>
                <a:gd name="connsiteX1" fmla="*/ 26897 w 1521438"/>
                <a:gd name="connsiteY1" fmla="*/ 0 h 161377"/>
                <a:gd name="connsiteX2" fmla="*/ 1494541 w 1521438"/>
                <a:gd name="connsiteY2" fmla="*/ 0 h 161377"/>
                <a:gd name="connsiteX3" fmla="*/ 1521438 w 1521438"/>
                <a:gd name="connsiteY3" fmla="*/ 26897 h 161377"/>
                <a:gd name="connsiteX4" fmla="*/ 1521438 w 1521438"/>
                <a:gd name="connsiteY4" fmla="*/ 134480 h 161377"/>
                <a:gd name="connsiteX5" fmla="*/ 1494541 w 1521438"/>
                <a:gd name="connsiteY5" fmla="*/ 161377 h 161377"/>
                <a:gd name="connsiteX6" fmla="*/ 26897 w 1521438"/>
                <a:gd name="connsiteY6" fmla="*/ 161377 h 161377"/>
                <a:gd name="connsiteX7" fmla="*/ 0 w 1521438"/>
                <a:gd name="connsiteY7" fmla="*/ 134480 h 161377"/>
                <a:gd name="connsiteX8" fmla="*/ 0 w 1521438"/>
                <a:gd name="connsiteY8" fmla="*/ 26897 h 1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1438" h="161377">
                  <a:moveTo>
                    <a:pt x="0" y="26897"/>
                  </a:moveTo>
                  <a:cubicBezTo>
                    <a:pt x="0" y="12042"/>
                    <a:pt x="12042" y="0"/>
                    <a:pt x="26897" y="0"/>
                  </a:cubicBezTo>
                  <a:lnTo>
                    <a:pt x="1494541" y="0"/>
                  </a:lnTo>
                  <a:cubicBezTo>
                    <a:pt x="1509396" y="0"/>
                    <a:pt x="1521438" y="12042"/>
                    <a:pt x="1521438" y="26897"/>
                  </a:cubicBezTo>
                  <a:lnTo>
                    <a:pt x="1521438" y="134480"/>
                  </a:lnTo>
                  <a:cubicBezTo>
                    <a:pt x="1521438" y="149335"/>
                    <a:pt x="1509396" y="161377"/>
                    <a:pt x="1494541" y="161377"/>
                  </a:cubicBezTo>
                  <a:lnTo>
                    <a:pt x="26897" y="161377"/>
                  </a:lnTo>
                  <a:cubicBezTo>
                    <a:pt x="12042" y="161377"/>
                    <a:pt x="0" y="149335"/>
                    <a:pt x="0" y="134480"/>
                  </a:cubicBezTo>
                  <a:lnTo>
                    <a:pt x="0" y="26897"/>
                  </a:lnTo>
                  <a:close/>
                </a:path>
              </a:pathLst>
            </a:custGeom>
            <a:solidFill>
              <a:srgbClr val="1F3B92"/>
            </a:solidFill>
            <a:ln>
              <a:solidFill>
                <a:schemeClr val="bg1"/>
              </a:solidFill>
            </a:ln>
            <a:effectLst/>
            <a:scene3d>
              <a:camera prst="orthographicFront"/>
              <a:lightRig rig="flat" dir="t"/>
            </a:scene3d>
            <a:sp3d prstMaterial="plastic"/>
          </p:spPr>
          <p:txBody>
            <a:bodyPr spcFirstLastPara="0" vert="horz" wrap="square" lIns="38358" tIns="0" rIns="38358" bIns="18288" numCol="1" spcCol="1270" anchor="ctr" anchorCtr="0">
              <a:noAutofit/>
            </a:bodyPr>
            <a:lstStyle/>
            <a:p>
              <a:pPr algn="ctr" defTabSz="3556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endParaRPr lang="en-US" sz="1100" b="0" kern="0" dirty="0" smtClean="0">
                <a:ln/>
                <a:solidFill>
                  <a:prstClr val="white"/>
                </a:solidFill>
                <a:latin typeface="Calibri"/>
                <a:cs typeface="Arial"/>
              </a:endParaRPr>
            </a:p>
          </p:txBody>
        </p:sp>
        <p:sp>
          <p:nvSpPr>
            <p:cNvPr id="117" name="Freeform 116"/>
            <p:cNvSpPr/>
            <p:nvPr/>
          </p:nvSpPr>
          <p:spPr>
            <a:xfrm>
              <a:off x="4957847" y="5054825"/>
              <a:ext cx="1620352" cy="441788"/>
            </a:xfrm>
            <a:custGeom>
              <a:avLst/>
              <a:gdLst>
                <a:gd name="connsiteX0" fmla="*/ 0 w 1521438"/>
                <a:gd name="connsiteY0" fmla="*/ 26897 h 161377"/>
                <a:gd name="connsiteX1" fmla="*/ 26897 w 1521438"/>
                <a:gd name="connsiteY1" fmla="*/ 0 h 161377"/>
                <a:gd name="connsiteX2" fmla="*/ 1494541 w 1521438"/>
                <a:gd name="connsiteY2" fmla="*/ 0 h 161377"/>
                <a:gd name="connsiteX3" fmla="*/ 1521438 w 1521438"/>
                <a:gd name="connsiteY3" fmla="*/ 26897 h 161377"/>
                <a:gd name="connsiteX4" fmla="*/ 1521438 w 1521438"/>
                <a:gd name="connsiteY4" fmla="*/ 134480 h 161377"/>
                <a:gd name="connsiteX5" fmla="*/ 1494541 w 1521438"/>
                <a:gd name="connsiteY5" fmla="*/ 161377 h 161377"/>
                <a:gd name="connsiteX6" fmla="*/ 26897 w 1521438"/>
                <a:gd name="connsiteY6" fmla="*/ 161377 h 161377"/>
                <a:gd name="connsiteX7" fmla="*/ 0 w 1521438"/>
                <a:gd name="connsiteY7" fmla="*/ 134480 h 161377"/>
                <a:gd name="connsiteX8" fmla="*/ 0 w 1521438"/>
                <a:gd name="connsiteY8" fmla="*/ 26897 h 1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1438" h="161377">
                  <a:moveTo>
                    <a:pt x="0" y="26897"/>
                  </a:moveTo>
                  <a:cubicBezTo>
                    <a:pt x="0" y="12042"/>
                    <a:pt x="12042" y="0"/>
                    <a:pt x="26897" y="0"/>
                  </a:cubicBezTo>
                  <a:lnTo>
                    <a:pt x="1494541" y="0"/>
                  </a:lnTo>
                  <a:cubicBezTo>
                    <a:pt x="1509396" y="0"/>
                    <a:pt x="1521438" y="12042"/>
                    <a:pt x="1521438" y="26897"/>
                  </a:cubicBezTo>
                  <a:lnTo>
                    <a:pt x="1521438" y="134480"/>
                  </a:lnTo>
                  <a:cubicBezTo>
                    <a:pt x="1521438" y="149335"/>
                    <a:pt x="1509396" y="161377"/>
                    <a:pt x="1494541" y="161377"/>
                  </a:cubicBezTo>
                  <a:lnTo>
                    <a:pt x="26897" y="161377"/>
                  </a:lnTo>
                  <a:cubicBezTo>
                    <a:pt x="12042" y="161377"/>
                    <a:pt x="0" y="149335"/>
                    <a:pt x="0" y="134480"/>
                  </a:cubicBezTo>
                  <a:lnTo>
                    <a:pt x="0" y="26897"/>
                  </a:lnTo>
                  <a:close/>
                </a:path>
              </a:pathLst>
            </a:custGeom>
            <a:solidFill>
              <a:srgbClr val="1F3B92"/>
            </a:solidFill>
            <a:ln>
              <a:solidFill>
                <a:schemeClr val="bg1"/>
              </a:solidFill>
            </a:ln>
            <a:effectLst/>
            <a:scene3d>
              <a:camera prst="orthographicFront"/>
              <a:lightRig rig="flat" dir="t"/>
            </a:scene3d>
            <a:sp3d prstMaterial="plastic"/>
          </p:spPr>
          <p:txBody>
            <a:bodyPr spcFirstLastPara="0" vert="horz" wrap="square" lIns="38358" tIns="0" rIns="38358" bIns="18288" numCol="1" spcCol="1270" anchor="ctr" anchorCtr="0">
              <a:noAutofit/>
            </a:bodyPr>
            <a:lstStyle/>
            <a:p>
              <a:pPr algn="ctr" defTabSz="3556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1100" b="0" kern="0" dirty="0" smtClean="0">
                  <a:ln/>
                  <a:solidFill>
                    <a:prstClr val="white"/>
                  </a:solidFill>
                  <a:latin typeface="Calibri"/>
                  <a:cs typeface="Arial"/>
                </a:rPr>
                <a:t>TESTING</a:t>
              </a: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6986261" y="4601050"/>
              <a:ext cx="761931" cy="123342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kern="0" dirty="0" smtClea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PLOY TO PROD</a:t>
              </a:r>
            </a:p>
          </p:txBody>
        </p:sp>
        <p:cxnSp>
          <p:nvCxnSpPr>
            <p:cNvPr id="161" name="Elbow Connector 160"/>
            <p:cNvCxnSpPr>
              <a:stCxn id="70" idx="3"/>
            </p:cNvCxnSpPr>
            <p:nvPr/>
          </p:nvCxnSpPr>
          <p:spPr bwMode="auto">
            <a:xfrm flipH="1">
              <a:off x="70193" y="2049730"/>
              <a:ext cx="7699647" cy="310395"/>
            </a:xfrm>
            <a:prstGeom prst="bentConnector3">
              <a:avLst>
                <a:gd name="adj1" fmla="val -3460"/>
              </a:avLst>
            </a:prstGeom>
            <a:solidFill>
              <a:schemeClr val="accent1"/>
            </a:solidFill>
            <a:ln w="1905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64" name="Elbow Connector 163"/>
            <p:cNvCxnSpPr/>
            <p:nvPr/>
          </p:nvCxnSpPr>
          <p:spPr bwMode="auto">
            <a:xfrm rot="16200000" flipH="1">
              <a:off x="-997798" y="3466500"/>
              <a:ext cx="2436947" cy="281927"/>
            </a:xfrm>
            <a:prstGeom prst="bentConnector3">
              <a:avLst>
                <a:gd name="adj1" fmla="val 97744"/>
              </a:avLst>
            </a:prstGeom>
            <a:solidFill>
              <a:schemeClr val="accent1"/>
            </a:solidFill>
            <a:ln w="1905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grpSp>
          <p:nvGrpSpPr>
            <p:cNvPr id="178" name="Group 177"/>
            <p:cNvGrpSpPr/>
            <p:nvPr/>
          </p:nvGrpSpPr>
          <p:grpSpPr>
            <a:xfrm>
              <a:off x="1656447" y="5508942"/>
              <a:ext cx="4089286" cy="332882"/>
              <a:chOff x="1780023" y="4820635"/>
              <a:chExt cx="4089286" cy="332882"/>
            </a:xfrm>
          </p:grpSpPr>
          <p:cxnSp>
            <p:nvCxnSpPr>
              <p:cNvPr id="174" name="Straight Arrow Connector 173"/>
              <p:cNvCxnSpPr/>
              <p:nvPr/>
            </p:nvCxnSpPr>
            <p:spPr bwMode="auto">
              <a:xfrm>
                <a:off x="5869309" y="4820635"/>
                <a:ext cx="0" cy="332882"/>
              </a:xfrm>
              <a:prstGeom prst="straightConnector1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/>
              </a:ln>
              <a:effectLst/>
            </p:spPr>
          </p:cxnSp>
          <p:cxnSp>
            <p:nvCxnSpPr>
              <p:cNvPr id="143" name="Straight Arrow Connector 142"/>
              <p:cNvCxnSpPr/>
              <p:nvPr/>
            </p:nvCxnSpPr>
            <p:spPr bwMode="auto">
              <a:xfrm>
                <a:off x="1780023" y="4820635"/>
                <a:ext cx="0" cy="332882"/>
              </a:xfrm>
              <a:prstGeom prst="straightConnector1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FF0000"/>
                </a:solidFill>
                <a:prstDash val="solid"/>
                <a:round/>
                <a:headEnd type="arrow" w="med" len="med"/>
                <a:tailEnd type="none"/>
              </a:ln>
              <a:effectLst/>
            </p:spPr>
          </p:cxnSp>
        </p:grpSp>
      </p:grpSp>
      <p:sp>
        <p:nvSpPr>
          <p:cNvPr id="52" name="Rectangle 51"/>
          <p:cNvSpPr/>
          <p:nvPr/>
        </p:nvSpPr>
        <p:spPr bwMode="auto">
          <a:xfrm>
            <a:off x="398300" y="816628"/>
            <a:ext cx="9125312" cy="57845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400" i="1" dirty="0" smtClean="0">
                <a:solidFill>
                  <a:schemeClr val="bg1"/>
                </a:solidFill>
              </a:rPr>
              <a:t>Poor tooling adoption and disparate processes impact agility </a:t>
            </a:r>
            <a:r>
              <a:rPr lang="en-GB" sz="1400" i="1" dirty="0">
                <a:solidFill>
                  <a:schemeClr val="bg1"/>
                </a:solidFill>
              </a:rPr>
              <a:t>and </a:t>
            </a:r>
            <a:r>
              <a:rPr lang="en-GB" sz="1400" i="1" dirty="0" smtClean="0">
                <a:solidFill>
                  <a:schemeClr val="bg1"/>
                </a:solidFill>
              </a:rPr>
              <a:t>speed </a:t>
            </a:r>
            <a:r>
              <a:rPr lang="en-GB" sz="1400" i="1" dirty="0">
                <a:solidFill>
                  <a:schemeClr val="bg1"/>
                </a:solidFill>
              </a:rPr>
              <a:t>of </a:t>
            </a:r>
            <a:r>
              <a:rPr lang="en-GB" sz="1400" i="1" dirty="0" smtClean="0">
                <a:solidFill>
                  <a:schemeClr val="bg1"/>
                </a:solidFill>
              </a:rPr>
              <a:t> projects</a:t>
            </a:r>
            <a:endParaRPr lang="en-GB" sz="1400" i="1" dirty="0">
              <a:solidFill>
                <a:schemeClr val="bg1"/>
              </a:solidFill>
            </a:endParaRPr>
          </a:p>
        </p:txBody>
      </p:sp>
      <p:sp>
        <p:nvSpPr>
          <p:cNvPr id="53" name="Rectangle 52"/>
          <p:cNvSpPr/>
          <p:nvPr/>
        </p:nvSpPr>
        <p:spPr bwMode="auto">
          <a:xfrm>
            <a:off x="7217339" y="1678874"/>
            <a:ext cx="2352477" cy="4398033"/>
          </a:xfrm>
          <a:prstGeom prst="rect">
            <a:avLst/>
          </a:prstGeom>
          <a:solidFill>
            <a:schemeClr val="tx2">
              <a:lumMod val="60000"/>
              <a:lumOff val="40000"/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5725" indent="-857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300" b="0" i="1" dirty="0">
                <a:solidFill>
                  <a:schemeClr val="bg2">
                    <a:lumMod val="50000"/>
                  </a:schemeClr>
                </a:solidFill>
              </a:rPr>
              <a:t>Poor traceability between requirements and delivery</a:t>
            </a:r>
          </a:p>
          <a:p>
            <a:pPr marL="85725" indent="-857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300" b="0" i="1" dirty="0">
                <a:solidFill>
                  <a:schemeClr val="bg2">
                    <a:lumMod val="50000"/>
                  </a:schemeClr>
                </a:solidFill>
              </a:rPr>
              <a:t>Weak tooling adoption</a:t>
            </a:r>
          </a:p>
          <a:p>
            <a:pPr marL="85725" indent="-857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300" b="0" i="1" dirty="0">
                <a:solidFill>
                  <a:schemeClr val="bg2">
                    <a:lumMod val="50000"/>
                  </a:schemeClr>
                </a:solidFill>
              </a:rPr>
              <a:t>Low Test coverage</a:t>
            </a:r>
          </a:p>
          <a:p>
            <a:pPr marL="85725" indent="-857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300" b="0" i="1" dirty="0">
                <a:solidFill>
                  <a:schemeClr val="bg2">
                    <a:lumMod val="50000"/>
                  </a:schemeClr>
                </a:solidFill>
              </a:rPr>
              <a:t>Disparate processes impact test execution</a:t>
            </a:r>
          </a:p>
          <a:p>
            <a:pPr marL="85725" indent="-857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300" b="0" i="1" dirty="0">
                <a:solidFill>
                  <a:schemeClr val="bg2">
                    <a:lumMod val="50000"/>
                  </a:schemeClr>
                </a:solidFill>
              </a:rPr>
              <a:t>Lack of integrated timely test data results in a risk based approach</a:t>
            </a:r>
          </a:p>
          <a:p>
            <a:pPr marL="85725" indent="-857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300" b="0" i="1" dirty="0">
                <a:solidFill>
                  <a:schemeClr val="bg2">
                    <a:lumMod val="50000"/>
                  </a:schemeClr>
                </a:solidFill>
              </a:rPr>
              <a:t>Weak tool chain integration &amp; version control leading to delays &amp; poor quality control</a:t>
            </a:r>
          </a:p>
          <a:p>
            <a:pPr marL="85725" indent="-857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300" b="0" i="1" dirty="0">
                <a:solidFill>
                  <a:schemeClr val="bg2">
                    <a:lumMod val="50000"/>
                  </a:schemeClr>
                </a:solidFill>
              </a:rPr>
              <a:t>Multiple handoff in deployment processes leading to high incidents in prod.</a:t>
            </a:r>
            <a:endParaRPr lang="en-US" sz="1300" b="0" i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5" name="Rectangle 2"/>
          <p:cNvSpPr>
            <a:spLocks noChangeArrowheads="1"/>
          </p:cNvSpPr>
          <p:nvPr/>
        </p:nvSpPr>
        <p:spPr bwMode="auto">
          <a:xfrm>
            <a:off x="2650156" y="188915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GB" sz="2400" b="0" dirty="0" smtClean="0">
                <a:solidFill>
                  <a:srgbClr val="00A4E8"/>
                </a:solidFill>
              </a:rPr>
              <a:t>Where we are today</a:t>
            </a:r>
            <a:endParaRPr lang="en-US" sz="2400" b="0" dirty="0">
              <a:solidFill>
                <a:srgbClr val="00A4E8"/>
              </a:solidFill>
            </a:endParaRPr>
          </a:p>
        </p:txBody>
      </p:sp>
      <p:cxnSp>
        <p:nvCxnSpPr>
          <p:cNvPr id="26" name="Straight Connector 25"/>
          <p:cNvCxnSpPr/>
          <p:nvPr/>
        </p:nvCxnSpPr>
        <p:spPr bwMode="auto">
          <a:xfrm>
            <a:off x="1636946" y="5584780"/>
            <a:ext cx="350936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9" name="Straight Arrow Connector 78"/>
          <p:cNvCxnSpPr/>
          <p:nvPr/>
        </p:nvCxnSpPr>
        <p:spPr bwMode="auto">
          <a:xfrm flipH="1" flipV="1">
            <a:off x="5982281" y="5009627"/>
            <a:ext cx="228638" cy="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FF0000"/>
            </a:solidFill>
            <a:prstDash val="solid"/>
            <a:round/>
            <a:headEnd type="arrow" w="med" len="med"/>
            <a:tailEnd type="none"/>
          </a:ln>
          <a:effectLst/>
        </p:spPr>
      </p:cxnSp>
      <p:sp>
        <p:nvSpPr>
          <p:cNvPr id="51" name="Rectangular Callout 50"/>
          <p:cNvSpPr/>
          <p:nvPr/>
        </p:nvSpPr>
        <p:spPr bwMode="auto">
          <a:xfrm>
            <a:off x="873394" y="2639399"/>
            <a:ext cx="1574800" cy="684803"/>
          </a:xfrm>
          <a:prstGeom prst="wedgeRectCallout">
            <a:avLst>
              <a:gd name="adj1" fmla="val 27017"/>
              <a:gd name="adj2" fmla="val -72288"/>
            </a:avLst>
          </a:prstGeom>
          <a:solidFill>
            <a:srgbClr val="F58025"/>
          </a:solidFill>
          <a:ln w="76200">
            <a:solidFill>
              <a:srgbClr val="8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>
            <a:spAutoFit/>
          </a:bodyPr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Calibri" panose="020F0502020204030204" pitchFamily="34" charset="0"/>
              </a:rPr>
              <a:t>Serial Processes, Culture &amp; processes result in </a:t>
            </a:r>
            <a:r>
              <a:rPr lang="en-US" sz="1000" kern="0" dirty="0" err="1">
                <a:solidFill>
                  <a:srgbClr val="FFFFFF"/>
                </a:solidFill>
                <a:latin typeface="Calibri" panose="020F0502020204030204" pitchFamily="34" charset="0"/>
              </a:rPr>
              <a:t>intertia</a:t>
            </a:r>
            <a:r>
              <a:rPr lang="en-US" sz="1000" kern="0" dirty="0">
                <a:solidFill>
                  <a:srgbClr val="FFFFFF"/>
                </a:solidFill>
                <a:latin typeface="Calibri" panose="020F0502020204030204" pitchFamily="34" charset="0"/>
              </a:rPr>
              <a:t>, even when attempting to use Agile </a:t>
            </a:r>
            <a:r>
              <a:rPr lang="en-US" sz="1000" kern="0" dirty="0" smtClean="0">
                <a:solidFill>
                  <a:srgbClr val="FFFFFF"/>
                </a:solidFill>
                <a:latin typeface="Calibri" panose="020F0502020204030204" pitchFamily="34" charset="0"/>
              </a:rPr>
              <a:t>methodology</a:t>
            </a:r>
            <a:endParaRPr lang="en-US" sz="1000" kern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94" name="Rectangular Callout 93"/>
          <p:cNvSpPr/>
          <p:nvPr/>
        </p:nvSpPr>
        <p:spPr bwMode="auto">
          <a:xfrm>
            <a:off x="2744131" y="3256778"/>
            <a:ext cx="1574800" cy="838691"/>
          </a:xfrm>
          <a:prstGeom prst="wedgeRectCallout">
            <a:avLst>
              <a:gd name="adj1" fmla="val -24596"/>
              <a:gd name="adj2" fmla="val 71062"/>
            </a:avLst>
          </a:prstGeom>
          <a:solidFill>
            <a:schemeClr val="accent2"/>
          </a:solidFill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Calibri" panose="020F0502020204030204" pitchFamily="34" charset="0"/>
              </a:rPr>
              <a:t>Iterative Build/Test/Fix Process</a:t>
            </a:r>
            <a:r>
              <a:rPr lang="en-US" sz="1000" kern="0" dirty="0" smtClean="0">
                <a:solidFill>
                  <a:srgbClr val="FFFFFF"/>
                </a:solidFill>
                <a:latin typeface="Calibri" panose="020F0502020204030204" pitchFamily="34" charset="0"/>
              </a:rPr>
              <a:t>. Defects </a:t>
            </a:r>
            <a:r>
              <a:rPr lang="en-US" sz="1000" kern="0" dirty="0">
                <a:solidFill>
                  <a:srgbClr val="FFFFFF"/>
                </a:solidFill>
                <a:latin typeface="Calibri" panose="020F0502020204030204" pitchFamily="34" charset="0"/>
              </a:rPr>
              <a:t>identified later in test lifecycle, resulting in a higher cost to fix and adding delay </a:t>
            </a:r>
          </a:p>
        </p:txBody>
      </p:sp>
      <p:sp>
        <p:nvSpPr>
          <p:cNvPr id="96" name="Rectangular Callout 95"/>
          <p:cNvSpPr/>
          <p:nvPr/>
        </p:nvSpPr>
        <p:spPr bwMode="auto">
          <a:xfrm>
            <a:off x="4612696" y="2681109"/>
            <a:ext cx="1574800" cy="684803"/>
          </a:xfrm>
          <a:prstGeom prst="wedgeRectCallout">
            <a:avLst>
              <a:gd name="adj1" fmla="val 8737"/>
              <a:gd name="adj2" fmla="val -78538"/>
            </a:avLst>
          </a:prstGeom>
          <a:solidFill>
            <a:srgbClr val="4BC8FF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FFFFFF"/>
                </a:solidFill>
                <a:latin typeface="Calibri" panose="020F0502020204030204" pitchFamily="34" charset="0"/>
              </a:rPr>
              <a:t>Environment provision and stability a consistent delivery risk across change portfolio</a:t>
            </a:r>
          </a:p>
        </p:txBody>
      </p:sp>
    </p:spTree>
    <p:extLst>
      <p:ext uri="{BB962C8B-B14F-4D97-AF65-F5344CB8AC3E}">
        <p14:creationId xmlns:p14="http://schemas.microsoft.com/office/powerpoint/2010/main" val="28076037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auto">
          <a:xfrm>
            <a:off x="387736" y="817719"/>
            <a:ext cx="9125312" cy="57845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400" i="1" dirty="0" smtClean="0">
                <a:solidFill>
                  <a:srgbClr val="FFFFFF"/>
                </a:solidFill>
              </a:rPr>
              <a:t>We will track and measure our Journey to ensure we reap the benefits</a:t>
            </a:r>
            <a:endParaRPr lang="en-GB" sz="1400" i="1" dirty="0">
              <a:solidFill>
                <a:srgbClr val="FFFFFF"/>
              </a:solidFill>
            </a:endParaRPr>
          </a:p>
        </p:txBody>
      </p:sp>
      <p:sp>
        <p:nvSpPr>
          <p:cNvPr id="48" name="Rectangle 2"/>
          <p:cNvSpPr>
            <a:spLocks noChangeArrowheads="1"/>
          </p:cNvSpPr>
          <p:nvPr/>
        </p:nvSpPr>
        <p:spPr bwMode="auto">
          <a:xfrm>
            <a:off x="2802556" y="204681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GB" sz="2400" b="0" dirty="0" smtClean="0">
                <a:solidFill>
                  <a:srgbClr val="00A4E8"/>
                </a:solidFill>
              </a:rPr>
              <a:t>Measures and Benefits</a:t>
            </a:r>
            <a:endParaRPr lang="en-GB" sz="2400" b="0" dirty="0">
              <a:solidFill>
                <a:srgbClr val="00A4E8"/>
              </a:solidFill>
            </a:endParaRPr>
          </a:p>
        </p:txBody>
      </p:sp>
      <p:sp>
        <p:nvSpPr>
          <p:cNvPr id="173" name="Rounded Rectangle 172"/>
          <p:cNvSpPr/>
          <p:nvPr/>
        </p:nvSpPr>
        <p:spPr bwMode="auto">
          <a:xfrm>
            <a:off x="375998" y="5372375"/>
            <a:ext cx="9131249" cy="1242667"/>
          </a:xfrm>
          <a:prstGeom prst="round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40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Benefits</a:t>
            </a:r>
            <a:endParaRPr lang="en-GB" sz="120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000" b="0" dirty="0">
              <a:solidFill>
                <a:srgbClr val="FFFFFF"/>
              </a:solidFill>
              <a:latin typeface="Expert Sans Regular"/>
              <a:cs typeface="Arial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48931" y="5650715"/>
            <a:ext cx="82647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20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  <a:p>
            <a:endParaRPr lang="en-GB" sz="1200" dirty="0" smtClean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  <a:p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74" name="Rectangle 173"/>
          <p:cNvSpPr/>
          <p:nvPr/>
        </p:nvSpPr>
        <p:spPr>
          <a:xfrm>
            <a:off x="4710436" y="5675090"/>
            <a:ext cx="1417734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9pPr>
          </a:lstStyle>
          <a:p>
            <a:r>
              <a:rPr lang="en-US" sz="1200" dirty="0" smtClean="0">
                <a:solidFill>
                  <a:srgbClr val="FFFFFF"/>
                </a:solidFill>
              </a:rPr>
              <a:t>Much </a:t>
            </a:r>
            <a:r>
              <a:rPr lang="en-US" sz="1200" dirty="0">
                <a:solidFill>
                  <a:srgbClr val="FFFFFF"/>
                </a:solidFill>
              </a:rPr>
              <a:t>faster time to </a:t>
            </a:r>
            <a:r>
              <a:rPr lang="en-US" sz="1200" dirty="0" smtClean="0">
                <a:solidFill>
                  <a:srgbClr val="FFFFFF"/>
                </a:solidFill>
              </a:rPr>
              <a:t>market</a:t>
            </a:r>
            <a:endParaRPr lang="en-US" sz="1200" b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75" name="Rectangle 174"/>
          <p:cNvSpPr/>
          <p:nvPr/>
        </p:nvSpPr>
        <p:spPr>
          <a:xfrm>
            <a:off x="888458" y="5641301"/>
            <a:ext cx="1428163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9pPr>
          </a:lstStyle>
          <a:p>
            <a:r>
              <a:rPr lang="en-US" sz="1200" dirty="0" smtClean="0">
                <a:solidFill>
                  <a:srgbClr val="FFFFFF"/>
                </a:solidFill>
              </a:rPr>
              <a:t>Major avoidance </a:t>
            </a:r>
            <a:r>
              <a:rPr lang="en-US" sz="1200" dirty="0">
                <a:solidFill>
                  <a:srgbClr val="FFFFFF"/>
                </a:solidFill>
              </a:rPr>
              <a:t>of hidden costs </a:t>
            </a:r>
          </a:p>
          <a:p>
            <a:r>
              <a:rPr lang="en-US" sz="1200" dirty="0">
                <a:solidFill>
                  <a:srgbClr val="FFFFFF"/>
                </a:solidFill>
              </a:rPr>
              <a:t>from removal of separating wall </a:t>
            </a:r>
            <a:endParaRPr lang="en-US" sz="1200" dirty="0">
              <a:solidFill>
                <a:srgbClr val="FFFFFF"/>
              </a:solidFill>
              <a:effectLst/>
            </a:endParaRPr>
          </a:p>
        </p:txBody>
      </p:sp>
      <p:sp>
        <p:nvSpPr>
          <p:cNvPr id="176" name="Rectangle 175"/>
          <p:cNvSpPr/>
          <p:nvPr/>
        </p:nvSpPr>
        <p:spPr>
          <a:xfrm>
            <a:off x="2896594" y="5664816"/>
            <a:ext cx="1440000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9pPr>
          </a:lstStyle>
          <a:p>
            <a:r>
              <a:rPr lang="en-US" sz="1200" dirty="0" smtClean="0">
                <a:solidFill>
                  <a:srgbClr val="FFFFFF"/>
                </a:solidFill>
              </a:rPr>
              <a:t>Higher </a:t>
            </a:r>
            <a:r>
              <a:rPr lang="en-US" sz="1200" dirty="0">
                <a:solidFill>
                  <a:srgbClr val="FFFFFF"/>
                </a:solidFill>
              </a:rPr>
              <a:t>degree of automation and control </a:t>
            </a:r>
            <a:endParaRPr lang="en-US" sz="1200" dirty="0">
              <a:solidFill>
                <a:srgbClr val="FFFFFF"/>
              </a:solidFill>
              <a:effectLst/>
            </a:endParaRPr>
          </a:p>
        </p:txBody>
      </p:sp>
      <p:sp>
        <p:nvSpPr>
          <p:cNvPr id="177" name="Rectangle 176"/>
          <p:cNvSpPr/>
          <p:nvPr/>
        </p:nvSpPr>
        <p:spPr>
          <a:xfrm>
            <a:off x="8153186" y="5687332"/>
            <a:ext cx="1402404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9pPr>
          </a:lstStyle>
          <a:p>
            <a:r>
              <a:rPr lang="en-GB" sz="1200" dirty="0" smtClean="0">
                <a:solidFill>
                  <a:schemeClr val="bg1"/>
                </a:solidFill>
                <a:effectLst/>
              </a:rPr>
              <a:t>Increased standardisation &amp; compliance</a:t>
            </a:r>
            <a:endParaRPr lang="en-US" sz="1200" dirty="0">
              <a:solidFill>
                <a:schemeClr val="bg1"/>
              </a:solidFill>
              <a:effectLst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6558536" y="5685364"/>
            <a:ext cx="1428163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9pPr>
          </a:lstStyle>
          <a:p>
            <a:r>
              <a:rPr lang="en-US" sz="1200" dirty="0" smtClean="0">
                <a:solidFill>
                  <a:srgbClr val="FFFFFF"/>
                </a:solidFill>
              </a:rPr>
              <a:t>Continuous deployments, business agility</a:t>
            </a:r>
            <a:endParaRPr lang="en-US" sz="1200" dirty="0">
              <a:solidFill>
                <a:srgbClr val="FFFFFF"/>
              </a:solidFill>
              <a:effectLst/>
            </a:endParaRPr>
          </a:p>
        </p:txBody>
      </p:sp>
      <p:pic>
        <p:nvPicPr>
          <p:cNvPr id="77" name="Picture 2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8888" y="5669932"/>
            <a:ext cx="646034" cy="576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Picture 82"/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580586" y="5724181"/>
            <a:ext cx="304800" cy="304800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4408663" y="5755662"/>
            <a:ext cx="304800" cy="304800"/>
          </a:xfrm>
          <a:prstGeom prst="rect">
            <a:avLst/>
          </a:prstGeom>
        </p:spPr>
      </p:pic>
      <p:pic>
        <p:nvPicPr>
          <p:cNvPr id="85" name="Picture 84"/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6197551" y="5781948"/>
            <a:ext cx="406400" cy="254000"/>
          </a:xfrm>
          <a:prstGeom prst="rect">
            <a:avLst/>
          </a:prstGeom>
        </p:spPr>
      </p:pic>
      <p:graphicFrame>
        <p:nvGraphicFramePr>
          <p:cNvPr id="86" name="Chart 20"/>
          <p:cNvGraphicFramePr/>
          <p:nvPr>
            <p:extLst>
              <p:ext uri="{D42A27DB-BD31-4B8C-83A1-F6EECF244321}">
                <p14:modId xmlns:p14="http://schemas.microsoft.com/office/powerpoint/2010/main" val="3704052304"/>
              </p:ext>
            </p:extLst>
          </p:nvPr>
        </p:nvGraphicFramePr>
        <p:xfrm>
          <a:off x="3728483" y="1712286"/>
          <a:ext cx="2268470" cy="1847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7" name="Chart 20"/>
          <p:cNvGraphicFramePr/>
          <p:nvPr>
            <p:extLst>
              <p:ext uri="{D42A27DB-BD31-4B8C-83A1-F6EECF244321}">
                <p14:modId xmlns:p14="http://schemas.microsoft.com/office/powerpoint/2010/main" val="3770540577"/>
              </p:ext>
            </p:extLst>
          </p:nvPr>
        </p:nvGraphicFramePr>
        <p:xfrm>
          <a:off x="1085582" y="1712286"/>
          <a:ext cx="2268470" cy="1847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88" name="Chart 20"/>
          <p:cNvGraphicFramePr/>
          <p:nvPr>
            <p:extLst>
              <p:ext uri="{D42A27DB-BD31-4B8C-83A1-F6EECF244321}">
                <p14:modId xmlns:p14="http://schemas.microsoft.com/office/powerpoint/2010/main" val="1722230024"/>
              </p:ext>
            </p:extLst>
          </p:nvPr>
        </p:nvGraphicFramePr>
        <p:xfrm>
          <a:off x="6410932" y="1706696"/>
          <a:ext cx="2268470" cy="1847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89" name="Chart 20"/>
          <p:cNvGraphicFramePr/>
          <p:nvPr>
            <p:extLst>
              <p:ext uri="{D42A27DB-BD31-4B8C-83A1-F6EECF244321}">
                <p14:modId xmlns:p14="http://schemas.microsoft.com/office/powerpoint/2010/main" val="645604333"/>
              </p:ext>
            </p:extLst>
          </p:nvPr>
        </p:nvGraphicFramePr>
        <p:xfrm>
          <a:off x="6409829" y="3376960"/>
          <a:ext cx="2268470" cy="1847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90" name="Group 89"/>
          <p:cNvGrpSpPr/>
          <p:nvPr/>
        </p:nvGrpSpPr>
        <p:grpSpPr>
          <a:xfrm>
            <a:off x="1811997" y="2236598"/>
            <a:ext cx="723938" cy="696035"/>
            <a:chOff x="2831910" y="5800299"/>
            <a:chExt cx="723938" cy="696035"/>
          </a:xfrm>
        </p:grpSpPr>
        <p:sp>
          <p:nvSpPr>
            <p:cNvPr id="91" name="Oval 90"/>
            <p:cNvSpPr/>
            <p:nvPr/>
          </p:nvSpPr>
          <p:spPr bwMode="auto">
            <a:xfrm>
              <a:off x="2831910" y="5800299"/>
              <a:ext cx="723938" cy="69603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Expert Sans Regular" pitchFamily="34" charset="0"/>
              </a:endParaRPr>
            </a:p>
          </p:txBody>
        </p:sp>
        <p:grpSp>
          <p:nvGrpSpPr>
            <p:cNvPr id="94" name="Group 93"/>
            <p:cNvGrpSpPr/>
            <p:nvPr/>
          </p:nvGrpSpPr>
          <p:grpSpPr>
            <a:xfrm>
              <a:off x="2891301" y="5858309"/>
              <a:ext cx="607571" cy="577061"/>
              <a:chOff x="4999531" y="2471869"/>
              <a:chExt cx="741981" cy="741981"/>
            </a:xfrm>
          </p:grpSpPr>
          <p:sp>
            <p:nvSpPr>
              <p:cNvPr id="95" name="Shape 22"/>
              <p:cNvSpPr/>
              <p:nvPr/>
            </p:nvSpPr>
            <p:spPr>
              <a:xfrm>
                <a:off x="4999531" y="2471869"/>
                <a:ext cx="741981" cy="74198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7F7F7F"/>
              </a:solidFill>
              <a:ln w="12700">
                <a:miter lim="400000"/>
              </a:ln>
            </p:spPr>
            <p:txBody>
              <a:bodyPr lIns="0" tIns="0" rIns="0" bIns="0"/>
              <a:lstStyle/>
              <a:p>
                <a:pPr lvl="0" defTabSz="457200">
                  <a:lnSpc>
                    <a:spcPct val="80000"/>
                  </a:lnSpc>
                  <a:spcBef>
                    <a:spcPts val="5500"/>
                  </a:spcBef>
                  <a:defRPr sz="5000">
                    <a:solidFill>
                      <a:srgbClr val="333333"/>
                    </a:solidFill>
                    <a:latin typeface="Helvetica Neue Thin"/>
                    <a:ea typeface="Helvetica Neue Thin"/>
                    <a:cs typeface="Helvetica Neue Thin"/>
                    <a:sym typeface="Helvetica Neue Thin"/>
                  </a:defRPr>
                </a:pPr>
                <a:endParaRPr>
                  <a:latin typeface="Expert Sans Regular" panose="020B0503030103020204" pitchFamily="34" charset="0"/>
                </a:endParaRPr>
              </a:p>
            </p:txBody>
          </p:sp>
          <p:sp>
            <p:nvSpPr>
              <p:cNvPr id="96" name="Shape 24"/>
              <p:cNvSpPr/>
              <p:nvPr/>
            </p:nvSpPr>
            <p:spPr>
              <a:xfrm>
                <a:off x="5069112" y="2541451"/>
                <a:ext cx="602817" cy="6028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lIns="0" tIns="0" rIns="0" bIns="0" anchor="ctr"/>
              <a:lstStyle>
                <a:lvl1pPr>
                  <a:defRPr sz="1500" cap="all">
                    <a:solidFill>
                      <a:srgbClr val="262626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lvl="0" algn="ctr">
                  <a:defRPr sz="1800" cap="none">
                    <a:solidFill>
                      <a:srgbClr val="000000"/>
                    </a:solidFill>
                  </a:defRPr>
                </a:pPr>
                <a:r>
                  <a:rPr lang="en-GB" sz="1200" dirty="0">
                    <a:latin typeface="Expert Sans Regular" panose="020B0503030103020204" pitchFamily="34" charset="0"/>
                  </a:rPr>
                  <a:t>+</a:t>
                </a:r>
                <a:r>
                  <a:rPr lang="en-GB" sz="1200" dirty="0" smtClean="0">
                    <a:latin typeface="Expert Sans Regular" panose="020B0503030103020204" pitchFamily="34" charset="0"/>
                  </a:rPr>
                  <a:t>5%</a:t>
                </a:r>
                <a:endParaRPr sz="1200" cap="all" dirty="0">
                  <a:solidFill>
                    <a:srgbClr val="262626"/>
                  </a:solidFill>
                  <a:latin typeface="Expert Sans Regular" panose="020B0503030103020204" pitchFamily="34" charset="0"/>
                </a:endParaRPr>
              </a:p>
            </p:txBody>
          </p:sp>
        </p:grpSp>
      </p:grpSp>
      <p:sp>
        <p:nvSpPr>
          <p:cNvPr id="97" name="TextBox 96"/>
          <p:cNvSpPr txBox="1"/>
          <p:nvPr/>
        </p:nvSpPr>
        <p:spPr>
          <a:xfrm>
            <a:off x="3801984" y="2880595"/>
            <a:ext cx="20712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>
                <a:latin typeface="Calibri" panose="020F0502020204030204" pitchFamily="34" charset="0"/>
                <a:cs typeface="Arial" pitchFamily="34" charset="0"/>
              </a:rPr>
              <a:t>Drive Up Release Automation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6197551" y="4645518"/>
            <a:ext cx="25901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 smtClean="0">
                <a:latin typeface="Calibri" panose="020F0502020204030204" pitchFamily="34" charset="0"/>
                <a:cs typeface="Arial" pitchFamily="34" charset="0"/>
              </a:rPr>
              <a:t>Ensure Implementation Effectiveness results in zero incidents </a:t>
            </a:r>
            <a:endParaRPr lang="en-GB" sz="1200" dirty="0">
              <a:latin typeface="Calibri" panose="020F0502020204030204" pitchFamily="34" charset="0"/>
              <a:cs typeface="Arial" pitchFamily="34" charset="0"/>
            </a:endParaRPr>
          </a:p>
        </p:txBody>
      </p:sp>
      <p:grpSp>
        <p:nvGrpSpPr>
          <p:cNvPr id="110" name="Group 109"/>
          <p:cNvGrpSpPr/>
          <p:nvPr/>
        </p:nvGrpSpPr>
        <p:grpSpPr>
          <a:xfrm>
            <a:off x="4496170" y="2236598"/>
            <a:ext cx="723938" cy="696035"/>
            <a:chOff x="2831910" y="5800299"/>
            <a:chExt cx="723938" cy="696035"/>
          </a:xfrm>
        </p:grpSpPr>
        <p:sp>
          <p:nvSpPr>
            <p:cNvPr id="111" name="Oval 110"/>
            <p:cNvSpPr/>
            <p:nvPr/>
          </p:nvSpPr>
          <p:spPr bwMode="auto">
            <a:xfrm>
              <a:off x="2831910" y="5800299"/>
              <a:ext cx="723938" cy="69603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Expert Sans Regular" pitchFamily="34" charset="0"/>
              </a:endParaRPr>
            </a:p>
          </p:txBody>
        </p:sp>
        <p:grpSp>
          <p:nvGrpSpPr>
            <p:cNvPr id="112" name="Group 111"/>
            <p:cNvGrpSpPr/>
            <p:nvPr/>
          </p:nvGrpSpPr>
          <p:grpSpPr>
            <a:xfrm>
              <a:off x="2891301" y="5858309"/>
              <a:ext cx="607571" cy="577061"/>
              <a:chOff x="4999531" y="2471869"/>
              <a:chExt cx="741981" cy="741981"/>
            </a:xfrm>
          </p:grpSpPr>
          <p:sp>
            <p:nvSpPr>
              <p:cNvPr id="113" name="Shape 22"/>
              <p:cNvSpPr/>
              <p:nvPr/>
            </p:nvSpPr>
            <p:spPr>
              <a:xfrm>
                <a:off x="4999531" y="2471869"/>
                <a:ext cx="741981" cy="74198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7F7F7F"/>
              </a:solidFill>
              <a:ln w="12700">
                <a:miter lim="400000"/>
              </a:ln>
            </p:spPr>
            <p:txBody>
              <a:bodyPr lIns="0" tIns="0" rIns="0" bIns="0"/>
              <a:lstStyle/>
              <a:p>
                <a:pPr lvl="0" defTabSz="457200">
                  <a:lnSpc>
                    <a:spcPct val="80000"/>
                  </a:lnSpc>
                  <a:spcBef>
                    <a:spcPts val="5500"/>
                  </a:spcBef>
                  <a:defRPr sz="5000">
                    <a:solidFill>
                      <a:srgbClr val="333333"/>
                    </a:solidFill>
                    <a:latin typeface="Helvetica Neue Thin"/>
                    <a:ea typeface="Helvetica Neue Thin"/>
                    <a:cs typeface="Helvetica Neue Thin"/>
                    <a:sym typeface="Helvetica Neue Thin"/>
                  </a:defRPr>
                </a:pPr>
                <a:endParaRPr>
                  <a:latin typeface="Expert Sans Regular" panose="020B0503030103020204" pitchFamily="34" charset="0"/>
                </a:endParaRPr>
              </a:p>
            </p:txBody>
          </p:sp>
          <p:sp>
            <p:nvSpPr>
              <p:cNvPr id="132" name="Shape 24"/>
              <p:cNvSpPr/>
              <p:nvPr/>
            </p:nvSpPr>
            <p:spPr>
              <a:xfrm>
                <a:off x="5069112" y="2541451"/>
                <a:ext cx="602817" cy="6028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lIns="0" tIns="0" rIns="0" bIns="0" anchor="ctr"/>
              <a:lstStyle>
                <a:lvl1pPr>
                  <a:defRPr sz="1500" cap="all">
                    <a:solidFill>
                      <a:srgbClr val="262626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lvl="0" algn="ctr">
                  <a:defRPr sz="1800" cap="none">
                    <a:solidFill>
                      <a:srgbClr val="000000"/>
                    </a:solidFill>
                  </a:defRPr>
                </a:pPr>
                <a:r>
                  <a:rPr lang="en-GB" sz="1200" dirty="0" smtClean="0">
                    <a:latin typeface="Expert Sans Regular" panose="020B0503030103020204" pitchFamily="34" charset="0"/>
                  </a:rPr>
                  <a:t>+20%</a:t>
                </a:r>
                <a:endParaRPr sz="1200" cap="all" dirty="0">
                  <a:solidFill>
                    <a:srgbClr val="262626"/>
                  </a:solidFill>
                  <a:latin typeface="Expert Sans Regular" panose="020B0503030103020204" pitchFamily="34" charset="0"/>
                </a:endParaRPr>
              </a:p>
            </p:txBody>
          </p:sp>
        </p:grpSp>
      </p:grpSp>
      <p:sp>
        <p:nvSpPr>
          <p:cNvPr id="133" name="TextBox 132"/>
          <p:cNvSpPr txBox="1"/>
          <p:nvPr/>
        </p:nvSpPr>
        <p:spPr>
          <a:xfrm>
            <a:off x="1225996" y="2873298"/>
            <a:ext cx="19451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latin typeface="Calibri" panose="020F0502020204030204" pitchFamily="34" charset="0"/>
                <a:cs typeface="Arial" pitchFamily="34" charset="0"/>
              </a:rPr>
              <a:t>Increase Tester Productivity</a:t>
            </a:r>
            <a:endParaRPr lang="en-GB" sz="1200" dirty="0">
              <a:latin typeface="Calibri" panose="020F0502020204030204" pitchFamily="34" charset="0"/>
              <a:cs typeface="Arial" pitchFamily="34" charset="0"/>
            </a:endParaRPr>
          </a:p>
        </p:txBody>
      </p:sp>
      <p:grpSp>
        <p:nvGrpSpPr>
          <p:cNvPr id="134" name="Group 133"/>
          <p:cNvGrpSpPr/>
          <p:nvPr/>
        </p:nvGrpSpPr>
        <p:grpSpPr>
          <a:xfrm>
            <a:off x="7204660" y="2252849"/>
            <a:ext cx="723938" cy="696035"/>
            <a:chOff x="2831910" y="5800299"/>
            <a:chExt cx="723938" cy="696035"/>
          </a:xfrm>
        </p:grpSpPr>
        <p:sp>
          <p:nvSpPr>
            <p:cNvPr id="135" name="Oval 134"/>
            <p:cNvSpPr/>
            <p:nvPr/>
          </p:nvSpPr>
          <p:spPr bwMode="auto">
            <a:xfrm>
              <a:off x="2831910" y="5800299"/>
              <a:ext cx="723938" cy="69603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Expert Sans Regular" pitchFamily="34" charset="0"/>
              </a:endParaRPr>
            </a:p>
          </p:txBody>
        </p:sp>
        <p:grpSp>
          <p:nvGrpSpPr>
            <p:cNvPr id="136" name="Group 135"/>
            <p:cNvGrpSpPr/>
            <p:nvPr/>
          </p:nvGrpSpPr>
          <p:grpSpPr>
            <a:xfrm>
              <a:off x="2891301" y="5858309"/>
              <a:ext cx="607571" cy="577061"/>
              <a:chOff x="4999531" y="2471869"/>
              <a:chExt cx="741981" cy="741981"/>
            </a:xfrm>
          </p:grpSpPr>
          <p:sp>
            <p:nvSpPr>
              <p:cNvPr id="137" name="Shape 22"/>
              <p:cNvSpPr/>
              <p:nvPr/>
            </p:nvSpPr>
            <p:spPr>
              <a:xfrm>
                <a:off x="4999531" y="2471869"/>
                <a:ext cx="741981" cy="74198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7F7F7F"/>
              </a:solidFill>
              <a:ln w="12700">
                <a:miter lim="400000"/>
              </a:ln>
            </p:spPr>
            <p:txBody>
              <a:bodyPr lIns="0" tIns="0" rIns="0" bIns="0"/>
              <a:lstStyle/>
              <a:p>
                <a:pPr lvl="0" defTabSz="457200">
                  <a:lnSpc>
                    <a:spcPct val="80000"/>
                  </a:lnSpc>
                  <a:spcBef>
                    <a:spcPts val="5500"/>
                  </a:spcBef>
                  <a:defRPr sz="5000">
                    <a:solidFill>
                      <a:srgbClr val="333333"/>
                    </a:solidFill>
                    <a:latin typeface="Helvetica Neue Thin"/>
                    <a:ea typeface="Helvetica Neue Thin"/>
                    <a:cs typeface="Helvetica Neue Thin"/>
                    <a:sym typeface="Helvetica Neue Thin"/>
                  </a:defRPr>
                </a:pPr>
                <a:endParaRPr>
                  <a:latin typeface="Expert Sans Regular" panose="020B0503030103020204" pitchFamily="34" charset="0"/>
                </a:endParaRPr>
              </a:p>
            </p:txBody>
          </p:sp>
          <p:sp>
            <p:nvSpPr>
              <p:cNvPr id="138" name="Shape 24"/>
              <p:cNvSpPr/>
              <p:nvPr/>
            </p:nvSpPr>
            <p:spPr>
              <a:xfrm>
                <a:off x="5069112" y="2541451"/>
                <a:ext cx="602817" cy="6028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lIns="0" tIns="0" rIns="0" bIns="0" anchor="ctr"/>
              <a:lstStyle>
                <a:lvl1pPr>
                  <a:defRPr sz="1500" cap="all">
                    <a:solidFill>
                      <a:srgbClr val="262626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lvl="0" algn="ctr">
                  <a:defRPr sz="1800" cap="none">
                    <a:solidFill>
                      <a:srgbClr val="000000"/>
                    </a:solidFill>
                  </a:defRPr>
                </a:pPr>
                <a:r>
                  <a:rPr lang="en-GB" sz="1200" dirty="0" smtClean="0">
                    <a:latin typeface="+mj-lt"/>
                  </a:rPr>
                  <a:t>&gt;95%</a:t>
                </a:r>
                <a:endParaRPr sz="1200" cap="all" dirty="0">
                  <a:solidFill>
                    <a:srgbClr val="262626"/>
                  </a:solidFill>
                  <a:latin typeface="+mj-lt"/>
                </a:endParaRPr>
              </a:p>
            </p:txBody>
          </p:sp>
        </p:grpSp>
      </p:grpSp>
      <p:sp>
        <p:nvSpPr>
          <p:cNvPr id="139" name="Shape 10"/>
          <p:cNvSpPr/>
          <p:nvPr/>
        </p:nvSpPr>
        <p:spPr>
          <a:xfrm rot="19980000">
            <a:off x="4537259" y="1765916"/>
            <a:ext cx="104821" cy="63300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7F7F7F"/>
          </a:solidFill>
          <a:ln w="12700">
            <a:miter lim="400000"/>
          </a:ln>
        </p:spPr>
        <p:txBody>
          <a:bodyPr lIns="0" tIns="0" rIns="0" bIns="0"/>
          <a:lstStyle/>
          <a:p>
            <a:pPr lvl="0" defTabSz="457200">
              <a:lnSpc>
                <a:spcPct val="80000"/>
              </a:lnSpc>
              <a:spcBef>
                <a:spcPts val="5500"/>
              </a:spcBef>
              <a:defRPr sz="5000">
                <a:solidFill>
                  <a:srgbClr val="333333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endParaRPr>
              <a:latin typeface="Expert Sans Regular" panose="020B0503030103020204" pitchFamily="34" charset="0"/>
            </a:endParaRPr>
          </a:p>
        </p:txBody>
      </p:sp>
      <p:sp>
        <p:nvSpPr>
          <p:cNvPr id="140" name="Shape 10"/>
          <p:cNvSpPr/>
          <p:nvPr/>
        </p:nvSpPr>
        <p:spPr>
          <a:xfrm rot="23280000">
            <a:off x="2401592" y="1754726"/>
            <a:ext cx="104821" cy="63300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7F7F7F"/>
          </a:solidFill>
          <a:ln w="12700">
            <a:miter lim="400000"/>
          </a:ln>
        </p:spPr>
        <p:txBody>
          <a:bodyPr lIns="0" tIns="0" rIns="0" bIns="0"/>
          <a:lstStyle/>
          <a:p>
            <a:pPr lvl="0" defTabSz="457200">
              <a:lnSpc>
                <a:spcPct val="80000"/>
              </a:lnSpc>
              <a:spcBef>
                <a:spcPts val="5500"/>
              </a:spcBef>
              <a:defRPr sz="5000">
                <a:solidFill>
                  <a:srgbClr val="333333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endParaRPr>
              <a:latin typeface="Expert Sans Regular" panose="020B0503030103020204" pitchFamily="34" charset="0"/>
            </a:endParaRPr>
          </a:p>
        </p:txBody>
      </p:sp>
      <p:sp>
        <p:nvSpPr>
          <p:cNvPr id="141" name="Shape 10"/>
          <p:cNvSpPr/>
          <p:nvPr/>
        </p:nvSpPr>
        <p:spPr>
          <a:xfrm rot="26820000">
            <a:off x="8115086" y="2252689"/>
            <a:ext cx="104821" cy="63300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7F7F7F"/>
          </a:solidFill>
          <a:ln w="12700">
            <a:miter lim="400000"/>
          </a:ln>
        </p:spPr>
        <p:txBody>
          <a:bodyPr lIns="0" tIns="0" rIns="0" bIns="0"/>
          <a:lstStyle/>
          <a:p>
            <a:pPr lvl="0" defTabSz="457200">
              <a:lnSpc>
                <a:spcPct val="80000"/>
              </a:lnSpc>
              <a:spcBef>
                <a:spcPts val="5500"/>
              </a:spcBef>
              <a:defRPr sz="5000">
                <a:solidFill>
                  <a:srgbClr val="333333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endParaRPr>
              <a:latin typeface="Expert Sans Regular" panose="020B0503030103020204" pitchFamily="34" charset="0"/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6466570" y="2885205"/>
            <a:ext cx="23210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>
                <a:solidFill>
                  <a:schemeClr val="dk1"/>
                </a:solidFill>
                <a:latin typeface="Calibri" panose="020F0502020204030204" pitchFamily="34" charset="0"/>
                <a:cs typeface="Arial" pitchFamily="34" charset="0"/>
              </a:rPr>
              <a:t>Increase </a:t>
            </a:r>
            <a:r>
              <a:rPr lang="en-GB" sz="1200" dirty="0" smtClean="0">
                <a:solidFill>
                  <a:schemeClr val="dk1"/>
                </a:solidFill>
                <a:latin typeface="Calibri" panose="020F0502020204030204" pitchFamily="34" charset="0"/>
                <a:cs typeface="Arial" pitchFamily="34" charset="0"/>
              </a:rPr>
              <a:t>Environment Availability</a:t>
            </a:r>
            <a:endParaRPr lang="en-GB" sz="1200" dirty="0">
              <a:solidFill>
                <a:schemeClr val="dk1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178" name="Chart 20"/>
          <p:cNvGraphicFramePr/>
          <p:nvPr>
            <p:extLst>
              <p:ext uri="{D42A27DB-BD31-4B8C-83A1-F6EECF244321}">
                <p14:modId xmlns:p14="http://schemas.microsoft.com/office/powerpoint/2010/main" val="230208038"/>
              </p:ext>
            </p:extLst>
          </p:nvPr>
        </p:nvGraphicFramePr>
        <p:xfrm>
          <a:off x="1076173" y="3428053"/>
          <a:ext cx="2268470" cy="1847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pSp>
        <p:nvGrpSpPr>
          <p:cNvPr id="180" name="Group 179"/>
          <p:cNvGrpSpPr/>
          <p:nvPr/>
        </p:nvGrpSpPr>
        <p:grpSpPr>
          <a:xfrm>
            <a:off x="1802588" y="3952365"/>
            <a:ext cx="723938" cy="696035"/>
            <a:chOff x="2831910" y="5800299"/>
            <a:chExt cx="723938" cy="696035"/>
          </a:xfrm>
        </p:grpSpPr>
        <p:sp>
          <p:nvSpPr>
            <p:cNvPr id="181" name="Oval 180"/>
            <p:cNvSpPr/>
            <p:nvPr/>
          </p:nvSpPr>
          <p:spPr bwMode="auto">
            <a:xfrm>
              <a:off x="2831910" y="5800299"/>
              <a:ext cx="723938" cy="69603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Expert Sans Regular" pitchFamily="34" charset="0"/>
              </a:endParaRPr>
            </a:p>
          </p:txBody>
        </p:sp>
        <p:grpSp>
          <p:nvGrpSpPr>
            <p:cNvPr id="182" name="Group 181"/>
            <p:cNvGrpSpPr/>
            <p:nvPr/>
          </p:nvGrpSpPr>
          <p:grpSpPr>
            <a:xfrm>
              <a:off x="2891301" y="5858309"/>
              <a:ext cx="607571" cy="577061"/>
              <a:chOff x="4999531" y="2471869"/>
              <a:chExt cx="741981" cy="741981"/>
            </a:xfrm>
          </p:grpSpPr>
          <p:sp>
            <p:nvSpPr>
              <p:cNvPr id="183" name="Shape 22"/>
              <p:cNvSpPr/>
              <p:nvPr/>
            </p:nvSpPr>
            <p:spPr>
              <a:xfrm>
                <a:off x="4999531" y="2471869"/>
                <a:ext cx="741981" cy="74198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7F7F7F"/>
              </a:solidFill>
              <a:ln w="12700">
                <a:miter lim="400000"/>
              </a:ln>
            </p:spPr>
            <p:txBody>
              <a:bodyPr lIns="0" tIns="0" rIns="0" bIns="0"/>
              <a:lstStyle/>
              <a:p>
                <a:pPr lvl="0" defTabSz="457200">
                  <a:lnSpc>
                    <a:spcPct val="80000"/>
                  </a:lnSpc>
                  <a:spcBef>
                    <a:spcPts val="5500"/>
                  </a:spcBef>
                  <a:defRPr sz="5000">
                    <a:solidFill>
                      <a:srgbClr val="333333"/>
                    </a:solidFill>
                    <a:latin typeface="Helvetica Neue Thin"/>
                    <a:ea typeface="Helvetica Neue Thin"/>
                    <a:cs typeface="Helvetica Neue Thin"/>
                    <a:sym typeface="Helvetica Neue Thin"/>
                  </a:defRPr>
                </a:pPr>
                <a:endParaRPr>
                  <a:latin typeface="Expert Sans Regular" panose="020B0503030103020204" pitchFamily="34" charset="0"/>
                </a:endParaRPr>
              </a:p>
            </p:txBody>
          </p:sp>
          <p:sp>
            <p:nvSpPr>
              <p:cNvPr id="184" name="Shape 24"/>
              <p:cNvSpPr/>
              <p:nvPr/>
            </p:nvSpPr>
            <p:spPr>
              <a:xfrm>
                <a:off x="5069112" y="2541451"/>
                <a:ext cx="602817" cy="6028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lIns="0" tIns="0" rIns="0" bIns="0" anchor="ctr"/>
              <a:lstStyle>
                <a:lvl1pPr>
                  <a:defRPr sz="1500" cap="all">
                    <a:solidFill>
                      <a:srgbClr val="262626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lvl="0" algn="ctr">
                  <a:defRPr sz="1800" cap="none">
                    <a:solidFill>
                      <a:srgbClr val="000000"/>
                    </a:solidFill>
                  </a:defRPr>
                </a:pPr>
                <a:r>
                  <a:rPr lang="en-GB" sz="1200" dirty="0" smtClean="0">
                    <a:latin typeface="Expert Sans Regular" panose="020B0503030103020204" pitchFamily="34" charset="0"/>
                  </a:rPr>
                  <a:t>-10%</a:t>
                </a:r>
                <a:endParaRPr sz="1200" cap="all" dirty="0">
                  <a:solidFill>
                    <a:srgbClr val="262626"/>
                  </a:solidFill>
                  <a:latin typeface="Expert Sans Regular" panose="020B0503030103020204" pitchFamily="34" charset="0"/>
                </a:endParaRPr>
              </a:p>
            </p:txBody>
          </p:sp>
        </p:grpSp>
      </p:grpSp>
      <p:sp>
        <p:nvSpPr>
          <p:cNvPr id="185" name="TextBox 184"/>
          <p:cNvSpPr txBox="1"/>
          <p:nvPr/>
        </p:nvSpPr>
        <p:spPr>
          <a:xfrm>
            <a:off x="885386" y="4672201"/>
            <a:ext cx="25872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 smtClean="0">
                <a:latin typeface="Calibri" panose="020F0502020204030204" pitchFamily="34" charset="0"/>
                <a:cs typeface="Arial" pitchFamily="34" charset="0"/>
              </a:rPr>
              <a:t>Reduce Missed Milestones due to poor demand management</a:t>
            </a:r>
            <a:endParaRPr lang="en-GB" sz="1200" dirty="0"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86" name="Shape 10"/>
          <p:cNvSpPr/>
          <p:nvPr/>
        </p:nvSpPr>
        <p:spPr>
          <a:xfrm rot="21660000">
            <a:off x="2146249" y="3399573"/>
            <a:ext cx="104821" cy="63300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7F7F7F"/>
          </a:solidFill>
          <a:ln w="12700">
            <a:miter lim="400000"/>
          </a:ln>
        </p:spPr>
        <p:txBody>
          <a:bodyPr lIns="0" tIns="0" rIns="0" bIns="0"/>
          <a:lstStyle/>
          <a:p>
            <a:pPr lvl="0" defTabSz="457200">
              <a:lnSpc>
                <a:spcPct val="80000"/>
              </a:lnSpc>
              <a:spcBef>
                <a:spcPts val="5500"/>
              </a:spcBef>
              <a:defRPr sz="5000">
                <a:solidFill>
                  <a:srgbClr val="333333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endParaRPr>
              <a:latin typeface="Expert Sans Regular" panose="020B0503030103020204" pitchFamily="34" charset="0"/>
            </a:endParaRPr>
          </a:p>
        </p:txBody>
      </p:sp>
      <p:graphicFrame>
        <p:nvGraphicFramePr>
          <p:cNvPr id="196" name="Chart 20"/>
          <p:cNvGraphicFramePr/>
          <p:nvPr>
            <p:extLst>
              <p:ext uri="{D42A27DB-BD31-4B8C-83A1-F6EECF244321}">
                <p14:modId xmlns:p14="http://schemas.microsoft.com/office/powerpoint/2010/main" val="4088574295"/>
              </p:ext>
            </p:extLst>
          </p:nvPr>
        </p:nvGraphicFramePr>
        <p:xfrm>
          <a:off x="3756724" y="3397010"/>
          <a:ext cx="2268470" cy="1847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197" name="Group 196"/>
          <p:cNvGrpSpPr/>
          <p:nvPr/>
        </p:nvGrpSpPr>
        <p:grpSpPr>
          <a:xfrm>
            <a:off x="4483139" y="3921322"/>
            <a:ext cx="723938" cy="696035"/>
            <a:chOff x="2831910" y="5800299"/>
            <a:chExt cx="723938" cy="696035"/>
          </a:xfrm>
        </p:grpSpPr>
        <p:sp>
          <p:nvSpPr>
            <p:cNvPr id="198" name="Oval 197"/>
            <p:cNvSpPr/>
            <p:nvPr/>
          </p:nvSpPr>
          <p:spPr bwMode="auto">
            <a:xfrm>
              <a:off x="2831910" y="5800299"/>
              <a:ext cx="723938" cy="69603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Expert Sans Regular" pitchFamily="34" charset="0"/>
              </a:endParaRPr>
            </a:p>
          </p:txBody>
        </p:sp>
        <p:grpSp>
          <p:nvGrpSpPr>
            <p:cNvPr id="199" name="Group 198"/>
            <p:cNvGrpSpPr/>
            <p:nvPr/>
          </p:nvGrpSpPr>
          <p:grpSpPr>
            <a:xfrm>
              <a:off x="2891301" y="5858309"/>
              <a:ext cx="607571" cy="577061"/>
              <a:chOff x="4999531" y="2471869"/>
              <a:chExt cx="741981" cy="741981"/>
            </a:xfrm>
          </p:grpSpPr>
          <p:sp>
            <p:nvSpPr>
              <p:cNvPr id="200" name="Shape 22"/>
              <p:cNvSpPr/>
              <p:nvPr/>
            </p:nvSpPr>
            <p:spPr>
              <a:xfrm>
                <a:off x="4999531" y="2471869"/>
                <a:ext cx="741981" cy="74198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7F7F7F"/>
              </a:solidFill>
              <a:ln w="12700">
                <a:miter lim="400000"/>
              </a:ln>
            </p:spPr>
            <p:txBody>
              <a:bodyPr lIns="0" tIns="0" rIns="0" bIns="0"/>
              <a:lstStyle/>
              <a:p>
                <a:pPr lvl="0" defTabSz="457200">
                  <a:lnSpc>
                    <a:spcPct val="80000"/>
                  </a:lnSpc>
                  <a:spcBef>
                    <a:spcPts val="5500"/>
                  </a:spcBef>
                  <a:defRPr sz="5000">
                    <a:solidFill>
                      <a:srgbClr val="333333"/>
                    </a:solidFill>
                    <a:latin typeface="Helvetica Neue Thin"/>
                    <a:ea typeface="Helvetica Neue Thin"/>
                    <a:cs typeface="Helvetica Neue Thin"/>
                    <a:sym typeface="Helvetica Neue Thin"/>
                  </a:defRPr>
                </a:pPr>
                <a:endParaRPr>
                  <a:latin typeface="Expert Sans Regular" panose="020B0503030103020204" pitchFamily="34" charset="0"/>
                </a:endParaRPr>
              </a:p>
            </p:txBody>
          </p:sp>
          <p:sp>
            <p:nvSpPr>
              <p:cNvPr id="201" name="Shape 24"/>
              <p:cNvSpPr/>
              <p:nvPr/>
            </p:nvSpPr>
            <p:spPr>
              <a:xfrm>
                <a:off x="5069112" y="2541451"/>
                <a:ext cx="602817" cy="6028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lIns="0" tIns="0" rIns="0" bIns="0" anchor="ctr"/>
              <a:lstStyle>
                <a:lvl1pPr>
                  <a:defRPr sz="1500" cap="all">
                    <a:solidFill>
                      <a:srgbClr val="262626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lvl="0" algn="ctr">
                  <a:defRPr sz="1800" cap="none">
                    <a:solidFill>
                      <a:srgbClr val="000000"/>
                    </a:solidFill>
                  </a:defRPr>
                </a:pPr>
                <a:r>
                  <a:rPr lang="en-GB" sz="1200" dirty="0" smtClean="0">
                    <a:latin typeface="Expert Sans Regular" panose="020B0503030103020204" pitchFamily="34" charset="0"/>
                  </a:rPr>
                  <a:t>-20%</a:t>
                </a:r>
                <a:endParaRPr sz="1200" cap="all" dirty="0">
                  <a:solidFill>
                    <a:srgbClr val="262626"/>
                  </a:solidFill>
                  <a:latin typeface="Expert Sans Regular" panose="020B0503030103020204" pitchFamily="34" charset="0"/>
                </a:endParaRPr>
              </a:p>
            </p:txBody>
          </p:sp>
        </p:grpSp>
      </p:grpSp>
      <p:sp>
        <p:nvSpPr>
          <p:cNvPr id="202" name="TextBox 201"/>
          <p:cNvSpPr txBox="1"/>
          <p:nvPr/>
        </p:nvSpPr>
        <p:spPr>
          <a:xfrm>
            <a:off x="3911846" y="4683931"/>
            <a:ext cx="19854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Calibri" panose="020F0502020204030204" pitchFamily="34" charset="0"/>
                <a:cs typeface="Arial" pitchFamily="34" charset="0"/>
              </a:rPr>
              <a:t>Reduce P</a:t>
            </a:r>
            <a:r>
              <a:rPr lang="en-GB" sz="1200" dirty="0" smtClean="0">
                <a:latin typeface="Calibri" panose="020F0502020204030204" pitchFamily="34" charset="0"/>
                <a:cs typeface="Arial" pitchFamily="34" charset="0"/>
              </a:rPr>
              <a:t>rod </a:t>
            </a:r>
            <a:r>
              <a:rPr lang="en-GB" sz="1200" dirty="0">
                <a:latin typeface="Calibri" panose="020F0502020204030204" pitchFamily="34" charset="0"/>
                <a:cs typeface="Arial" pitchFamily="34" charset="0"/>
              </a:rPr>
              <a:t>data proliferation</a:t>
            </a:r>
          </a:p>
        </p:txBody>
      </p:sp>
      <p:sp>
        <p:nvSpPr>
          <p:cNvPr id="203" name="Shape 10"/>
          <p:cNvSpPr/>
          <p:nvPr/>
        </p:nvSpPr>
        <p:spPr>
          <a:xfrm rot="19320000">
            <a:off x="4482008" y="3491025"/>
            <a:ext cx="104821" cy="63300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7F7F7F"/>
          </a:solidFill>
          <a:ln w="12700">
            <a:miter lim="400000"/>
          </a:ln>
        </p:spPr>
        <p:txBody>
          <a:bodyPr lIns="0" tIns="0" rIns="0" bIns="0"/>
          <a:lstStyle/>
          <a:p>
            <a:pPr lvl="0" defTabSz="457200">
              <a:lnSpc>
                <a:spcPct val="80000"/>
              </a:lnSpc>
              <a:spcBef>
                <a:spcPts val="5500"/>
              </a:spcBef>
              <a:defRPr sz="5000">
                <a:solidFill>
                  <a:srgbClr val="333333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endParaRPr>
              <a:latin typeface="Expert Sans Regular" panose="020B0503030103020204" pitchFamily="34" charset="0"/>
            </a:endParaRPr>
          </a:p>
        </p:txBody>
      </p:sp>
      <p:grpSp>
        <p:nvGrpSpPr>
          <p:cNvPr id="204" name="Group 203"/>
          <p:cNvGrpSpPr/>
          <p:nvPr/>
        </p:nvGrpSpPr>
        <p:grpSpPr>
          <a:xfrm>
            <a:off x="7161336" y="3949483"/>
            <a:ext cx="723938" cy="696035"/>
            <a:chOff x="2831910" y="5800299"/>
            <a:chExt cx="723938" cy="696035"/>
          </a:xfrm>
        </p:grpSpPr>
        <p:sp>
          <p:nvSpPr>
            <p:cNvPr id="205" name="Oval 204"/>
            <p:cNvSpPr/>
            <p:nvPr/>
          </p:nvSpPr>
          <p:spPr bwMode="auto">
            <a:xfrm>
              <a:off x="2831910" y="5800299"/>
              <a:ext cx="723938" cy="69603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Expert Sans Regular" pitchFamily="34" charset="0"/>
              </a:endParaRPr>
            </a:p>
          </p:txBody>
        </p:sp>
        <p:grpSp>
          <p:nvGrpSpPr>
            <p:cNvPr id="206" name="Group 205"/>
            <p:cNvGrpSpPr/>
            <p:nvPr/>
          </p:nvGrpSpPr>
          <p:grpSpPr>
            <a:xfrm>
              <a:off x="2891301" y="5858309"/>
              <a:ext cx="607571" cy="577061"/>
              <a:chOff x="4999531" y="2471869"/>
              <a:chExt cx="741981" cy="741981"/>
            </a:xfrm>
          </p:grpSpPr>
          <p:sp>
            <p:nvSpPr>
              <p:cNvPr id="207" name="Shape 22"/>
              <p:cNvSpPr/>
              <p:nvPr/>
            </p:nvSpPr>
            <p:spPr>
              <a:xfrm>
                <a:off x="4999531" y="2471869"/>
                <a:ext cx="741981" cy="74198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7F7F7F"/>
              </a:solidFill>
              <a:ln w="12700">
                <a:miter lim="400000"/>
              </a:ln>
            </p:spPr>
            <p:txBody>
              <a:bodyPr lIns="0" tIns="0" rIns="0" bIns="0"/>
              <a:lstStyle/>
              <a:p>
                <a:pPr lvl="0" defTabSz="457200">
                  <a:lnSpc>
                    <a:spcPct val="80000"/>
                  </a:lnSpc>
                  <a:spcBef>
                    <a:spcPts val="5500"/>
                  </a:spcBef>
                  <a:defRPr sz="5000">
                    <a:solidFill>
                      <a:srgbClr val="333333"/>
                    </a:solidFill>
                    <a:latin typeface="Helvetica Neue Thin"/>
                    <a:ea typeface="Helvetica Neue Thin"/>
                    <a:cs typeface="Helvetica Neue Thin"/>
                    <a:sym typeface="Helvetica Neue Thin"/>
                  </a:defRPr>
                </a:pPr>
                <a:endParaRPr>
                  <a:latin typeface="Expert Sans Regular" panose="020B0503030103020204" pitchFamily="34" charset="0"/>
                </a:endParaRPr>
              </a:p>
            </p:txBody>
          </p:sp>
          <p:sp>
            <p:nvSpPr>
              <p:cNvPr id="208" name="Shape 24"/>
              <p:cNvSpPr/>
              <p:nvPr/>
            </p:nvSpPr>
            <p:spPr>
              <a:xfrm>
                <a:off x="5069112" y="2541451"/>
                <a:ext cx="602817" cy="6028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lIns="0" tIns="0" rIns="0" bIns="0" anchor="ctr"/>
              <a:lstStyle>
                <a:lvl1pPr>
                  <a:defRPr sz="1500" cap="all">
                    <a:solidFill>
                      <a:srgbClr val="262626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lvl="0" algn="ctr">
                  <a:defRPr sz="1800" cap="none">
                    <a:solidFill>
                      <a:srgbClr val="000000"/>
                    </a:solidFill>
                  </a:defRPr>
                </a:pPr>
                <a:r>
                  <a:rPr lang="en-GB" sz="1200" dirty="0" smtClean="0">
                    <a:latin typeface="Expert Sans Regular" panose="020B0503030103020204" pitchFamily="34" charset="0"/>
                  </a:rPr>
                  <a:t>0%</a:t>
                </a:r>
                <a:endParaRPr sz="1200" cap="all" dirty="0">
                  <a:solidFill>
                    <a:srgbClr val="262626"/>
                  </a:solidFill>
                  <a:latin typeface="Expert Sans Regular" panose="020B0503030103020204" pitchFamily="34" charset="0"/>
                </a:endParaRPr>
              </a:p>
            </p:txBody>
          </p:sp>
        </p:grpSp>
      </p:grpSp>
      <p:sp>
        <p:nvSpPr>
          <p:cNvPr id="209" name="Shape 10"/>
          <p:cNvSpPr/>
          <p:nvPr/>
        </p:nvSpPr>
        <p:spPr>
          <a:xfrm rot="16200000">
            <a:off x="6877846" y="3980997"/>
            <a:ext cx="104821" cy="63300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7F7F7F"/>
          </a:solidFill>
          <a:ln w="12700">
            <a:miter lim="400000"/>
          </a:ln>
        </p:spPr>
        <p:txBody>
          <a:bodyPr lIns="0" tIns="0" rIns="0" bIns="0"/>
          <a:lstStyle/>
          <a:p>
            <a:pPr lvl="0" defTabSz="457200">
              <a:lnSpc>
                <a:spcPct val="80000"/>
              </a:lnSpc>
              <a:spcBef>
                <a:spcPts val="5500"/>
              </a:spcBef>
              <a:defRPr sz="5000">
                <a:solidFill>
                  <a:srgbClr val="333333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endParaRPr>
              <a:latin typeface="Expert Sans Regular" panose="020B0503030103020204" pitchFamily="34" charset="0"/>
            </a:endParaRPr>
          </a:p>
        </p:txBody>
      </p:sp>
      <p:sp>
        <p:nvSpPr>
          <p:cNvPr id="210" name="Rectangle 209"/>
          <p:cNvSpPr/>
          <p:nvPr/>
        </p:nvSpPr>
        <p:spPr>
          <a:xfrm>
            <a:off x="4425301" y="1422669"/>
            <a:ext cx="91204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400" dirty="0" smtClean="0">
                <a:solidFill>
                  <a:schemeClr val="tx2"/>
                </a:solidFill>
                <a:latin typeface="Calibri" panose="020F0502020204030204" pitchFamily="34" charset="0"/>
                <a:cs typeface="Arial"/>
              </a:rPr>
              <a:t>Measures</a:t>
            </a:r>
            <a:endParaRPr lang="en-US" sz="140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211" name="Afgeronde rechthoek 118"/>
          <p:cNvSpPr>
            <a:spLocks/>
          </p:cNvSpPr>
          <p:nvPr/>
        </p:nvSpPr>
        <p:spPr>
          <a:xfrm>
            <a:off x="369564" y="1452900"/>
            <a:ext cx="9137683" cy="3837253"/>
          </a:xfrm>
          <a:prstGeom prst="roundRect">
            <a:avLst>
              <a:gd name="adj" fmla="val 5194"/>
            </a:avLst>
          </a:prstGeom>
          <a:noFill/>
          <a:ln w="6350" cap="flat" cmpd="sng" algn="ctr">
            <a:solidFill>
              <a:schemeClr val="tx1"/>
            </a:solidFill>
            <a:prstDash val="solid"/>
          </a:ln>
          <a:effectLst/>
        </p:spPr>
        <p:txBody>
          <a:bodyPr rot="0" spcFirstLastPara="0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Expert Sans Regular" pitchFamily="34" charset="0"/>
                <a:ea typeface="+mn-ea"/>
                <a:cs typeface="Arial" charset="0"/>
              </a:defRPr>
            </a:lvl9pPr>
          </a:lstStyle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200" b="0" kern="0" dirty="0" smtClean="0">
              <a:solidFill>
                <a:srgbClr val="1F3B92"/>
              </a:solidFill>
              <a:latin typeface="Calibri"/>
              <a:cs typeface="Myriad Pro"/>
            </a:endParaRPr>
          </a:p>
        </p:txBody>
      </p:sp>
      <p:cxnSp>
        <p:nvCxnSpPr>
          <p:cNvPr id="4" name="Straight Connector 3"/>
          <p:cNvCxnSpPr/>
          <p:nvPr/>
        </p:nvCxnSpPr>
        <p:spPr bwMode="auto">
          <a:xfrm>
            <a:off x="387736" y="5631027"/>
            <a:ext cx="9119511" cy="28631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837724" y="5758357"/>
            <a:ext cx="348003" cy="34800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9469813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Rectangle 2"/>
          <p:cNvSpPr>
            <a:spLocks noChangeArrowheads="1"/>
          </p:cNvSpPr>
          <p:nvPr/>
        </p:nvSpPr>
        <p:spPr bwMode="auto">
          <a:xfrm>
            <a:off x="2650156" y="188915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GB" sz="2400" b="0" dirty="0" smtClean="0">
                <a:solidFill>
                  <a:srgbClr val="00A4E8"/>
                </a:solidFill>
              </a:rPr>
              <a:t>DevOps Enablers - CAMS</a:t>
            </a:r>
            <a:endParaRPr lang="en-GB" sz="2400" b="0" dirty="0">
              <a:solidFill>
                <a:srgbClr val="00A4E8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389666" y="839190"/>
            <a:ext cx="9125312" cy="57845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400" i="1" dirty="0" smtClean="0">
                <a:solidFill>
                  <a:srgbClr val="FFFFFF"/>
                </a:solidFill>
              </a:rPr>
              <a:t>Key enabling factors for the application </a:t>
            </a:r>
            <a:r>
              <a:rPr lang="en-GB" sz="1400" i="1" dirty="0">
                <a:solidFill>
                  <a:srgbClr val="FFFFFF"/>
                </a:solidFill>
              </a:rPr>
              <a:t>teams to deliver </a:t>
            </a:r>
            <a:r>
              <a:rPr lang="en-GB" sz="1400" i="1" dirty="0" smtClean="0">
                <a:solidFill>
                  <a:srgbClr val="FFFFFF"/>
                </a:solidFill>
              </a:rPr>
              <a:t>the vision</a:t>
            </a:r>
            <a:endParaRPr lang="en-GB" sz="1400" i="1" dirty="0">
              <a:solidFill>
                <a:srgbClr val="FFFFFF"/>
              </a:solidFill>
            </a:endParaRP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3101972106"/>
              </p:ext>
            </p:extLst>
          </p:nvPr>
        </p:nvGraphicFramePr>
        <p:xfrm>
          <a:off x="-11972" y="1693658"/>
          <a:ext cx="9917971" cy="4402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5060758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141"/>
          <p:cNvSpPr txBox="1">
            <a:spLocks/>
          </p:cNvSpPr>
          <p:nvPr/>
        </p:nvSpPr>
        <p:spPr bwMode="auto">
          <a:xfrm>
            <a:off x="1076346" y="5429234"/>
            <a:ext cx="8221553" cy="1179904"/>
          </a:xfrm>
          <a:prstGeom prst="rect">
            <a:avLst/>
          </a:prstGeom>
          <a:noFill/>
          <a:ln w="3175">
            <a:solidFill>
              <a:schemeClr val="tx2">
                <a:lumMod val="60000"/>
                <a:lumOff val="40000"/>
              </a:schemeClr>
            </a:solidFill>
          </a:ln>
          <a:extLst/>
        </p:spPr>
        <p:txBody>
          <a:bodyPr vert="horz" wrap="square" lIns="91425" tIns="91425" rIns="91425" bIns="91425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r"/>
            <a:endParaRPr lang="en" sz="1800" b="0" kern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Afgeronde rechthoek 118"/>
          <p:cNvSpPr>
            <a:spLocks/>
          </p:cNvSpPr>
          <p:nvPr/>
        </p:nvSpPr>
        <p:spPr>
          <a:xfrm>
            <a:off x="1076347" y="1605157"/>
            <a:ext cx="1090026" cy="2059246"/>
          </a:xfrm>
          <a:prstGeom prst="roundRect">
            <a:avLst>
              <a:gd name="adj" fmla="val 6392"/>
            </a:avLst>
          </a:prstGeom>
          <a:solidFill>
            <a:srgbClr val="ADCDEC">
              <a:alpha val="80000"/>
            </a:srgbClr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/>
                <a:cs typeface="Myriad Pro"/>
              </a:rPr>
              <a:t>Code</a:t>
            </a:r>
          </a:p>
        </p:txBody>
      </p:sp>
      <p:sp>
        <p:nvSpPr>
          <p:cNvPr id="5" name="Afgeronde rechthoek 118"/>
          <p:cNvSpPr>
            <a:spLocks/>
          </p:cNvSpPr>
          <p:nvPr/>
        </p:nvSpPr>
        <p:spPr>
          <a:xfrm>
            <a:off x="2242676" y="1599166"/>
            <a:ext cx="1095860" cy="2059246"/>
          </a:xfrm>
          <a:prstGeom prst="roundRect">
            <a:avLst>
              <a:gd name="adj" fmla="val 6392"/>
            </a:avLst>
          </a:prstGeom>
          <a:solidFill>
            <a:srgbClr val="ADCDEC">
              <a:alpha val="80000"/>
            </a:srgbClr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/>
                <a:cs typeface="Myriad Pro"/>
              </a:rPr>
              <a:t>Code</a:t>
            </a:r>
          </a:p>
        </p:txBody>
      </p:sp>
      <p:sp>
        <p:nvSpPr>
          <p:cNvPr id="6" name="Afgeronde rechthoek 118"/>
          <p:cNvSpPr>
            <a:spLocks/>
          </p:cNvSpPr>
          <p:nvPr/>
        </p:nvSpPr>
        <p:spPr>
          <a:xfrm>
            <a:off x="3414839" y="1599165"/>
            <a:ext cx="1116880" cy="2059247"/>
          </a:xfrm>
          <a:prstGeom prst="roundRect">
            <a:avLst>
              <a:gd name="adj" fmla="val 6392"/>
            </a:avLst>
          </a:prstGeom>
          <a:solidFill>
            <a:srgbClr val="ADCDEC">
              <a:alpha val="80000"/>
            </a:srgbClr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/>
                <a:cs typeface="Myriad Pro"/>
              </a:rPr>
              <a:t>Build</a:t>
            </a:r>
          </a:p>
        </p:txBody>
      </p:sp>
      <p:sp>
        <p:nvSpPr>
          <p:cNvPr id="7" name="Afgeronde rechthoek 118"/>
          <p:cNvSpPr>
            <a:spLocks/>
          </p:cNvSpPr>
          <p:nvPr/>
        </p:nvSpPr>
        <p:spPr>
          <a:xfrm>
            <a:off x="4608022" y="1599165"/>
            <a:ext cx="1116880" cy="2059247"/>
          </a:xfrm>
          <a:prstGeom prst="roundRect">
            <a:avLst>
              <a:gd name="adj" fmla="val 6392"/>
            </a:avLst>
          </a:prstGeom>
          <a:solidFill>
            <a:srgbClr val="ADCDEC">
              <a:alpha val="80000"/>
            </a:srgbClr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/>
                <a:cs typeface="Myriad Pro"/>
              </a:rPr>
              <a:t>Deploy</a:t>
            </a:r>
          </a:p>
        </p:txBody>
      </p:sp>
      <p:sp>
        <p:nvSpPr>
          <p:cNvPr id="8" name="Afgeronde rechthoek 118"/>
          <p:cNvSpPr>
            <a:spLocks/>
          </p:cNvSpPr>
          <p:nvPr/>
        </p:nvSpPr>
        <p:spPr>
          <a:xfrm>
            <a:off x="5801205" y="1599165"/>
            <a:ext cx="1116880" cy="2059247"/>
          </a:xfrm>
          <a:prstGeom prst="roundRect">
            <a:avLst>
              <a:gd name="adj" fmla="val 6392"/>
            </a:avLst>
          </a:prstGeom>
          <a:solidFill>
            <a:srgbClr val="ADCDEC">
              <a:alpha val="80000"/>
            </a:srgbClr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/>
                <a:cs typeface="Myriad Pro"/>
              </a:rPr>
              <a:t>Test</a:t>
            </a:r>
          </a:p>
        </p:txBody>
      </p:sp>
      <p:sp>
        <p:nvSpPr>
          <p:cNvPr id="9" name="Afgeronde rechthoek 118"/>
          <p:cNvSpPr>
            <a:spLocks/>
          </p:cNvSpPr>
          <p:nvPr/>
        </p:nvSpPr>
        <p:spPr>
          <a:xfrm>
            <a:off x="6994387" y="1599165"/>
            <a:ext cx="1111800" cy="2059247"/>
          </a:xfrm>
          <a:prstGeom prst="roundRect">
            <a:avLst>
              <a:gd name="adj" fmla="val 6392"/>
            </a:avLst>
          </a:prstGeom>
          <a:solidFill>
            <a:srgbClr val="ADCDEC">
              <a:alpha val="80000"/>
            </a:srgbClr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1F3B92"/>
                </a:solidFill>
                <a:effectLst/>
                <a:uLnTx/>
                <a:uFillTx/>
                <a:latin typeface="Calibri"/>
                <a:cs typeface="Myriad Pro"/>
              </a:rPr>
              <a:t>Operate</a:t>
            </a:r>
          </a:p>
        </p:txBody>
      </p:sp>
      <p:sp>
        <p:nvSpPr>
          <p:cNvPr id="10" name="Afgeronde rechthoek 118"/>
          <p:cNvSpPr>
            <a:spLocks/>
          </p:cNvSpPr>
          <p:nvPr/>
        </p:nvSpPr>
        <p:spPr>
          <a:xfrm>
            <a:off x="8181019" y="1599165"/>
            <a:ext cx="1116880" cy="2059247"/>
          </a:xfrm>
          <a:prstGeom prst="roundRect">
            <a:avLst>
              <a:gd name="adj" fmla="val 6392"/>
            </a:avLst>
          </a:prstGeom>
          <a:solidFill>
            <a:srgbClr val="ADCDEC">
              <a:alpha val="80000"/>
            </a:srgbClr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kern="0" dirty="0">
                <a:solidFill>
                  <a:srgbClr val="1F3B92"/>
                </a:solidFill>
                <a:latin typeface="Calibri"/>
                <a:cs typeface="Myriad Pro"/>
              </a:rPr>
              <a:t>Production</a:t>
            </a:r>
          </a:p>
        </p:txBody>
      </p:sp>
      <p:sp>
        <p:nvSpPr>
          <p:cNvPr id="11" name="Afgeronde rechthoek 112"/>
          <p:cNvSpPr/>
          <p:nvPr/>
        </p:nvSpPr>
        <p:spPr>
          <a:xfrm>
            <a:off x="3467818" y="2656344"/>
            <a:ext cx="1005840" cy="428158"/>
          </a:xfrm>
          <a:prstGeom prst="roundRect">
            <a:avLst/>
          </a:prstGeom>
          <a:solidFill>
            <a:sysClr val="window" lastClr="FFFFFF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45720" rIns="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kern="0" dirty="0">
                <a:solidFill>
                  <a:srgbClr val="0085CC"/>
                </a:solidFill>
                <a:latin typeface="Calibri"/>
                <a:cs typeface="Myriad Pro"/>
              </a:rPr>
              <a:t>Unit Test</a:t>
            </a:r>
          </a:p>
        </p:txBody>
      </p:sp>
      <p:sp>
        <p:nvSpPr>
          <p:cNvPr id="12" name="Afgeronde rechthoek 116"/>
          <p:cNvSpPr/>
          <p:nvPr/>
        </p:nvSpPr>
        <p:spPr>
          <a:xfrm>
            <a:off x="3467818" y="3134126"/>
            <a:ext cx="1005840" cy="426626"/>
          </a:xfrm>
          <a:prstGeom prst="roundRect">
            <a:avLst/>
          </a:prstGeom>
          <a:solidFill>
            <a:sysClr val="window" lastClr="FFFFFF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45720" rIns="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kern="0" dirty="0">
                <a:solidFill>
                  <a:srgbClr val="0085CC"/>
                </a:solidFill>
                <a:latin typeface="Calibri"/>
                <a:cs typeface="Myriad Pro"/>
              </a:rPr>
              <a:t>Code Quality analysis</a:t>
            </a:r>
          </a:p>
        </p:txBody>
      </p:sp>
      <p:sp>
        <p:nvSpPr>
          <p:cNvPr id="13" name="Afgeronde rechthoek 119"/>
          <p:cNvSpPr/>
          <p:nvPr/>
        </p:nvSpPr>
        <p:spPr>
          <a:xfrm>
            <a:off x="2285145" y="2174401"/>
            <a:ext cx="1005840" cy="426626"/>
          </a:xfrm>
          <a:prstGeom prst="roundRect">
            <a:avLst/>
          </a:prstGeom>
          <a:solidFill>
            <a:srgbClr val="1F3B92"/>
          </a:solidFill>
          <a:ln w="9525" cap="flat" cmpd="sng" algn="ctr">
            <a:solidFill>
              <a:srgbClr val="1F3B92">
                <a:shade val="95000"/>
                <a:satMod val="105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72000" tIns="45720" rIns="72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kern="0" dirty="0">
                <a:solidFill>
                  <a:prstClr val="white"/>
                </a:solidFill>
                <a:latin typeface="Calibri"/>
                <a:cs typeface="Myriad Pro"/>
              </a:rPr>
              <a:t>Check-in code &amp; Peer review</a:t>
            </a:r>
          </a:p>
        </p:txBody>
      </p:sp>
      <p:sp>
        <p:nvSpPr>
          <p:cNvPr id="14" name="Afgeronde rechthoek 127"/>
          <p:cNvSpPr/>
          <p:nvPr/>
        </p:nvSpPr>
        <p:spPr>
          <a:xfrm>
            <a:off x="4661001" y="2174400"/>
            <a:ext cx="1005840" cy="424082"/>
          </a:xfrm>
          <a:prstGeom prst="roundRect">
            <a:avLst/>
          </a:prstGeom>
          <a:solidFill>
            <a:sysClr val="window" lastClr="FFFFFF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45720" rIns="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kern="0" dirty="0">
                <a:solidFill>
                  <a:srgbClr val="0085CC"/>
                </a:solidFill>
                <a:latin typeface="Calibri"/>
                <a:cs typeface="Myriad Pro"/>
              </a:rPr>
              <a:t>Deploy</a:t>
            </a:r>
          </a:p>
        </p:txBody>
      </p:sp>
      <p:sp>
        <p:nvSpPr>
          <p:cNvPr id="15" name="Afgeronde rechthoek 128"/>
          <p:cNvSpPr/>
          <p:nvPr/>
        </p:nvSpPr>
        <p:spPr>
          <a:xfrm>
            <a:off x="4661001" y="2656343"/>
            <a:ext cx="1005840" cy="428159"/>
          </a:xfrm>
          <a:prstGeom prst="roundRect">
            <a:avLst/>
          </a:prstGeom>
          <a:solidFill>
            <a:sysClr val="window" lastClr="FFFFFF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45720" rIns="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kern="0" dirty="0">
                <a:solidFill>
                  <a:srgbClr val="0085CC"/>
                </a:solidFill>
                <a:latin typeface="Calibri"/>
                <a:cs typeface="Myriad Pro"/>
              </a:rPr>
              <a:t>Smoke test</a:t>
            </a:r>
          </a:p>
        </p:txBody>
      </p:sp>
      <p:sp>
        <p:nvSpPr>
          <p:cNvPr id="16" name="Afgeronde rechthoek 132"/>
          <p:cNvSpPr/>
          <p:nvPr/>
        </p:nvSpPr>
        <p:spPr>
          <a:xfrm>
            <a:off x="5854184" y="2174400"/>
            <a:ext cx="1005840" cy="424082"/>
          </a:xfrm>
          <a:prstGeom prst="roundRect">
            <a:avLst/>
          </a:prstGeom>
          <a:solidFill>
            <a:sysClr val="window" lastClr="FFFFFF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45720" rIns="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kern="0" dirty="0">
                <a:solidFill>
                  <a:srgbClr val="0085CC"/>
                </a:solidFill>
                <a:latin typeface="Calibri"/>
                <a:cs typeface="Myriad Pro"/>
              </a:rPr>
              <a:t>System &amp; Regression Test</a:t>
            </a:r>
          </a:p>
        </p:txBody>
      </p:sp>
      <p:sp>
        <p:nvSpPr>
          <p:cNvPr id="17" name="Afgeronde rechthoek 134"/>
          <p:cNvSpPr/>
          <p:nvPr/>
        </p:nvSpPr>
        <p:spPr>
          <a:xfrm>
            <a:off x="5854184" y="2656343"/>
            <a:ext cx="1005840" cy="426628"/>
          </a:xfrm>
          <a:prstGeom prst="roundRect">
            <a:avLst/>
          </a:prstGeom>
          <a:solidFill>
            <a:sysClr val="window" lastClr="FFFFFF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45720" rIns="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kern="0" dirty="0">
                <a:solidFill>
                  <a:srgbClr val="0085CC"/>
                </a:solidFill>
                <a:latin typeface="Calibri"/>
                <a:cs typeface="Myriad Pro"/>
              </a:rPr>
              <a:t>Performance Test</a:t>
            </a:r>
          </a:p>
        </p:txBody>
      </p:sp>
      <p:sp>
        <p:nvSpPr>
          <p:cNvPr id="18" name="Afgeronde rechthoek 149"/>
          <p:cNvSpPr/>
          <p:nvPr/>
        </p:nvSpPr>
        <p:spPr>
          <a:xfrm>
            <a:off x="7049908" y="2174399"/>
            <a:ext cx="1005840" cy="430789"/>
          </a:xfrm>
          <a:prstGeom prst="roundRect">
            <a:avLst/>
          </a:prstGeom>
          <a:solidFill>
            <a:sysClr val="window" lastClr="FFFFFF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45720" rIns="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kern="0" dirty="0">
                <a:solidFill>
                  <a:srgbClr val="0085CC"/>
                </a:solidFill>
                <a:latin typeface="Calibri"/>
                <a:cs typeface="Myriad Pro"/>
              </a:rPr>
              <a:t>NFT</a:t>
            </a:r>
          </a:p>
        </p:txBody>
      </p:sp>
      <p:sp>
        <p:nvSpPr>
          <p:cNvPr id="19" name="Afgeronde rechthoek 151"/>
          <p:cNvSpPr/>
          <p:nvPr/>
        </p:nvSpPr>
        <p:spPr>
          <a:xfrm>
            <a:off x="7047367" y="3143086"/>
            <a:ext cx="1005840" cy="417666"/>
          </a:xfrm>
          <a:prstGeom prst="roundRect">
            <a:avLst/>
          </a:prstGeom>
          <a:solidFill>
            <a:srgbClr val="1F3B92"/>
          </a:solidFill>
          <a:ln w="9525" cap="flat" cmpd="sng" algn="ctr">
            <a:solidFill>
              <a:srgbClr val="1F3B92">
                <a:shade val="95000"/>
                <a:satMod val="105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72000" tIns="45720" rIns="72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kern="0" dirty="0">
                <a:solidFill>
                  <a:prstClr val="white"/>
                </a:solidFill>
                <a:latin typeface="Calibri"/>
                <a:cs typeface="Myriad Pro"/>
              </a:rPr>
              <a:t>Security/ UAT</a:t>
            </a:r>
          </a:p>
        </p:txBody>
      </p:sp>
      <p:sp>
        <p:nvSpPr>
          <p:cNvPr id="20" name="Afgeronde rechthoek 157"/>
          <p:cNvSpPr/>
          <p:nvPr/>
        </p:nvSpPr>
        <p:spPr>
          <a:xfrm>
            <a:off x="7047367" y="2657788"/>
            <a:ext cx="1005840" cy="426714"/>
          </a:xfrm>
          <a:prstGeom prst="roundRect">
            <a:avLst/>
          </a:prstGeom>
          <a:solidFill>
            <a:srgbClr val="1F3B92"/>
          </a:solidFill>
          <a:ln w="9525" cap="flat" cmpd="sng" algn="ctr">
            <a:solidFill>
              <a:srgbClr val="1F3B92">
                <a:shade val="95000"/>
                <a:satMod val="105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72000" tIns="45720" rIns="72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kern="0" dirty="0">
                <a:solidFill>
                  <a:prstClr val="white"/>
                </a:solidFill>
                <a:latin typeface="Calibri"/>
                <a:cs typeface="Myriad Pro"/>
              </a:rPr>
              <a:t>Logging &amp; Monitoring</a:t>
            </a:r>
          </a:p>
        </p:txBody>
      </p:sp>
      <p:sp>
        <p:nvSpPr>
          <p:cNvPr id="21" name="Afgeronde rechthoek 159"/>
          <p:cNvSpPr/>
          <p:nvPr/>
        </p:nvSpPr>
        <p:spPr>
          <a:xfrm>
            <a:off x="8242899" y="2174399"/>
            <a:ext cx="1005840" cy="419614"/>
          </a:xfrm>
          <a:prstGeom prst="roundRect">
            <a:avLst/>
          </a:prstGeom>
          <a:solidFill>
            <a:sysClr val="window" lastClr="FFFFFF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45720" rIns="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kern="0" dirty="0">
                <a:solidFill>
                  <a:srgbClr val="0085CC"/>
                </a:solidFill>
                <a:latin typeface="Calibri"/>
                <a:cs typeface="Myriad Pro"/>
              </a:rPr>
              <a:t>Schedule P-deployment</a:t>
            </a:r>
          </a:p>
        </p:txBody>
      </p:sp>
      <p:sp>
        <p:nvSpPr>
          <p:cNvPr id="22" name="Afgeronde rechthoek 160"/>
          <p:cNvSpPr/>
          <p:nvPr/>
        </p:nvSpPr>
        <p:spPr>
          <a:xfrm>
            <a:off x="8242899" y="2656342"/>
            <a:ext cx="1005840" cy="425835"/>
          </a:xfrm>
          <a:prstGeom prst="roundRect">
            <a:avLst/>
          </a:prstGeom>
          <a:solidFill>
            <a:sysClr val="window" lastClr="FFFFFF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45720" rIns="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kern="0" dirty="0">
                <a:solidFill>
                  <a:srgbClr val="0085CC"/>
                </a:solidFill>
                <a:latin typeface="Calibri"/>
                <a:cs typeface="Myriad Pro"/>
              </a:rPr>
              <a:t>Deploy to PROD</a:t>
            </a:r>
          </a:p>
        </p:txBody>
      </p:sp>
      <p:sp>
        <p:nvSpPr>
          <p:cNvPr id="23" name="Afgeronde rechthoek 161"/>
          <p:cNvSpPr/>
          <p:nvPr/>
        </p:nvSpPr>
        <p:spPr>
          <a:xfrm>
            <a:off x="8242899" y="3143085"/>
            <a:ext cx="1005840" cy="417667"/>
          </a:xfrm>
          <a:prstGeom prst="roundRect">
            <a:avLst/>
          </a:prstGeom>
          <a:solidFill>
            <a:sysClr val="window" lastClr="FFFFFF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45720" rIns="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kern="0" dirty="0">
                <a:solidFill>
                  <a:srgbClr val="0085CC"/>
                </a:solidFill>
                <a:latin typeface="Calibri"/>
                <a:cs typeface="Myriad Pro"/>
              </a:rPr>
              <a:t>PROD verification</a:t>
            </a:r>
          </a:p>
        </p:txBody>
      </p:sp>
      <p:sp>
        <p:nvSpPr>
          <p:cNvPr id="24" name="Afgeronde rechthoek 53"/>
          <p:cNvSpPr/>
          <p:nvPr/>
        </p:nvSpPr>
        <p:spPr>
          <a:xfrm>
            <a:off x="2285145" y="2657876"/>
            <a:ext cx="1005840" cy="426626"/>
          </a:xfrm>
          <a:prstGeom prst="roundRect">
            <a:avLst/>
          </a:prstGeom>
          <a:solidFill>
            <a:sysClr val="window" lastClr="FFFFFF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45720" rIns="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kern="0" dirty="0">
                <a:solidFill>
                  <a:srgbClr val="0085CC"/>
                </a:solidFill>
                <a:latin typeface="Calibri"/>
                <a:cs typeface="Myriad Pro"/>
              </a:rPr>
              <a:t>Code review</a:t>
            </a:r>
          </a:p>
        </p:txBody>
      </p:sp>
      <p:sp>
        <p:nvSpPr>
          <p:cNvPr id="25" name="Afgeronde rechthoek 39"/>
          <p:cNvSpPr/>
          <p:nvPr/>
        </p:nvSpPr>
        <p:spPr>
          <a:xfrm>
            <a:off x="5854184" y="3130813"/>
            <a:ext cx="1005840" cy="429939"/>
          </a:xfrm>
          <a:prstGeom prst="roundRect">
            <a:avLst/>
          </a:prstGeom>
          <a:solidFill>
            <a:srgbClr val="1F3B92"/>
          </a:solidFill>
          <a:ln w="9525" cap="flat" cmpd="sng" algn="ctr">
            <a:solidFill>
              <a:srgbClr val="1F3B92">
                <a:shade val="95000"/>
                <a:satMod val="105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72000" tIns="45720" rIns="72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kern="0" dirty="0">
                <a:solidFill>
                  <a:prstClr val="white"/>
                </a:solidFill>
                <a:latin typeface="Calibri"/>
                <a:cs typeface="Myriad Pro"/>
              </a:rPr>
              <a:t>Exploratory test</a:t>
            </a:r>
          </a:p>
        </p:txBody>
      </p:sp>
      <p:sp>
        <p:nvSpPr>
          <p:cNvPr id="26" name="Afgeronde rechthoek 159"/>
          <p:cNvSpPr/>
          <p:nvPr/>
        </p:nvSpPr>
        <p:spPr>
          <a:xfrm>
            <a:off x="3467818" y="2174400"/>
            <a:ext cx="1005840" cy="424082"/>
          </a:xfrm>
          <a:prstGeom prst="roundRect">
            <a:avLst/>
          </a:prstGeom>
          <a:solidFill>
            <a:sysClr val="window" lastClr="FFFFFF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45720" rIns="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kern="0" dirty="0">
                <a:solidFill>
                  <a:srgbClr val="0085CC"/>
                </a:solidFill>
                <a:latin typeface="Calibri"/>
                <a:cs typeface="Myriad Pro"/>
              </a:rPr>
              <a:t>Code Check-out &amp; Build</a:t>
            </a:r>
          </a:p>
        </p:txBody>
      </p:sp>
      <p:sp>
        <p:nvSpPr>
          <p:cNvPr id="27" name="Rectangle 9"/>
          <p:cNvSpPr>
            <a:spLocks noChangeArrowheads="1"/>
          </p:cNvSpPr>
          <p:nvPr/>
        </p:nvSpPr>
        <p:spPr bwMode="auto">
          <a:xfrm>
            <a:off x="1076346" y="3740453"/>
            <a:ext cx="8221553" cy="567965"/>
          </a:xfrm>
          <a:prstGeom prst="can">
            <a:avLst>
              <a:gd name="adj" fmla="val 12352"/>
            </a:avLst>
          </a:prstGeom>
          <a:solidFill>
            <a:schemeClr val="tx2">
              <a:lumMod val="75000"/>
            </a:schemeClr>
          </a:solidFill>
          <a:ln>
            <a:noFill/>
          </a:ln>
          <a:extLst/>
        </p:spPr>
        <p:txBody>
          <a:bodyPr vert="horz" wrap="square" lIns="91440" tIns="0" rIns="91440" bIns="36576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000" b="1" dirty="0" smtClean="0">
                <a:solidFill>
                  <a:prstClr val="white"/>
                </a:solidFill>
              </a:rPr>
              <a:t>PCB DEVOPS Enablement Platform</a:t>
            </a:r>
            <a:endParaRPr lang="en-US" sz="2000" b="1" dirty="0">
              <a:solidFill>
                <a:prstClr val="white"/>
              </a:solidFill>
            </a:endParaRPr>
          </a:p>
        </p:txBody>
      </p:sp>
      <p:graphicFrame>
        <p:nvGraphicFramePr>
          <p:cNvPr id="28" name="Diagram 27"/>
          <p:cNvGraphicFramePr/>
          <p:nvPr>
            <p:extLst>
              <p:ext uri="{D42A27DB-BD31-4B8C-83A1-F6EECF244321}">
                <p14:modId xmlns:p14="http://schemas.microsoft.com/office/powerpoint/2010/main" val="3882479743"/>
              </p:ext>
            </p:extLst>
          </p:nvPr>
        </p:nvGraphicFramePr>
        <p:xfrm>
          <a:off x="1056681" y="1497974"/>
          <a:ext cx="8433147" cy="4908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9" name="Afgeronde rechthoek 119"/>
          <p:cNvSpPr/>
          <p:nvPr/>
        </p:nvSpPr>
        <p:spPr>
          <a:xfrm>
            <a:off x="1120009" y="2174400"/>
            <a:ext cx="1005840" cy="426626"/>
          </a:xfrm>
          <a:prstGeom prst="roundRect">
            <a:avLst/>
          </a:prstGeom>
          <a:solidFill>
            <a:srgbClr val="1F3B92"/>
          </a:solidFill>
          <a:ln w="9525" cap="flat" cmpd="sng" algn="ctr">
            <a:solidFill>
              <a:srgbClr val="1F3B92">
                <a:shade val="95000"/>
                <a:satMod val="105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72000" tIns="45720" rIns="72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kern="0" dirty="0" smtClean="0">
                <a:solidFill>
                  <a:prstClr val="white"/>
                </a:solidFill>
                <a:latin typeface="Calibri"/>
                <a:cs typeface="Myriad Pro"/>
              </a:rPr>
              <a:t>Integration with PM tools</a:t>
            </a:r>
            <a:endParaRPr lang="en-US" sz="1000" b="0" kern="0" dirty="0">
              <a:solidFill>
                <a:prstClr val="white"/>
              </a:solidFill>
              <a:latin typeface="Calibri"/>
              <a:cs typeface="Myriad Pro"/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1066514" y="4328053"/>
            <a:ext cx="8231385" cy="1028994"/>
            <a:chOff x="835306" y="1970704"/>
            <a:chExt cx="10101807" cy="1464885"/>
          </a:xfrm>
        </p:grpSpPr>
        <p:sp>
          <p:nvSpPr>
            <p:cNvPr id="31" name="Rectangle 30"/>
            <p:cNvSpPr/>
            <p:nvPr/>
          </p:nvSpPr>
          <p:spPr>
            <a:xfrm>
              <a:off x="7213803" y="1972596"/>
              <a:ext cx="1188720" cy="1458266"/>
            </a:xfrm>
            <a:prstGeom prst="rect">
              <a:avLst/>
            </a:prstGeom>
            <a:solidFill>
              <a:schemeClr val="tx2">
                <a:lumMod val="25000"/>
                <a:lumOff val="75000"/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t" anchorCtr="0"/>
            <a:lstStyle/>
            <a:p>
              <a:pPr algn="ctr"/>
              <a:r>
                <a:rPr lang="en-US" sz="1050" b="1" dirty="0">
                  <a:solidFill>
                    <a:schemeClr val="bg2">
                      <a:lumMod val="50000"/>
                    </a:schemeClr>
                  </a:solidFill>
                  <a:latin typeface="Calibri" panose="020F0502020204030204" pitchFamily="34" charset="0"/>
                </a:rPr>
                <a:t>Deployment Automation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835306" y="1971503"/>
              <a:ext cx="1189088" cy="145826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Requirement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Management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50" b="1" kern="0" dirty="0" smtClean="0">
                  <a:solidFill>
                    <a:prstClr val="white"/>
                  </a:solidFill>
                  <a:latin typeface="Calibri" panose="020F0502020204030204" pitchFamily="34" charset="0"/>
                </a:rPr>
                <a:t>Integration</a:t>
              </a:r>
              <a:endParaRPr lang="en-US" sz="900" b="1" dirty="0">
                <a:solidFill>
                  <a:schemeClr val="bg1">
                    <a:lumMod val="95000"/>
                  </a:schemeClr>
                </a:solidFill>
                <a:latin typeface="Expert Sans Regular"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2102079" y="1970704"/>
              <a:ext cx="1188720" cy="1458266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rovisioning</a:t>
              </a: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3373065" y="1970704"/>
              <a:ext cx="1188720" cy="1458266"/>
            </a:xfrm>
            <a:prstGeom prst="rect">
              <a:avLst/>
            </a:prstGeom>
            <a:solidFill>
              <a:schemeClr val="tx2">
                <a:lumMod val="50000"/>
                <a:lumOff val="5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Continuous</a:t>
              </a:r>
              <a:r>
                <a:rPr kumimoji="0" lang="en-US" sz="1050" b="1" i="0" u="none" strike="noStrike" kern="0" cap="none" spc="0" normalizeH="0" noProof="0" dirty="0" smtClean="0">
                  <a:ln>
                    <a:noFill/>
                  </a:ln>
                  <a:solidFill>
                    <a:schemeClr val="bg2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Integration</a:t>
              </a:r>
              <a:endParaRPr kumimoji="0" lang="en-US" sz="1050" b="1" i="0" u="none" strike="noStrike" kern="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4652036" y="1970704"/>
              <a:ext cx="1188720" cy="1458266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Test Automation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5931007" y="1970704"/>
              <a:ext cx="1188720" cy="1458266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ervice </a:t>
              </a:r>
              <a:r>
                <a:rPr kumimoji="0" lang="en-US" sz="105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chemeClr val="bg2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Virtualisation</a:t>
              </a:r>
              <a:endParaRPr kumimoji="0" lang="en-US" sz="1050" b="1" i="0" u="none" strike="noStrike" kern="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8477039" y="1977323"/>
              <a:ext cx="1188720" cy="145826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Logging &amp;</a:t>
              </a:r>
              <a:r>
                <a:rPr kumimoji="0" lang="en-US" sz="1050" b="1" i="0" u="none" strike="noStrike" kern="0" cap="none" spc="0" normalizeH="0" noProof="0" dirty="0" smtClean="0">
                  <a:ln>
                    <a:noFill/>
                  </a:ln>
                  <a:solidFill>
                    <a:schemeClr val="bg2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Monitoring</a:t>
              </a:r>
              <a:endParaRPr kumimoji="0" lang="en-US" sz="1050" b="1" i="0" u="none" strike="noStrike" kern="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pic>
          <p:nvPicPr>
            <p:cNvPr id="38" name="Picture 37"/>
            <p:cNvPicPr>
              <a:picLocks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10452" y="2755869"/>
              <a:ext cx="571974" cy="384048"/>
            </a:xfrm>
            <a:prstGeom prst="rect">
              <a:avLst/>
            </a:prstGeom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9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75925" y="2715475"/>
              <a:ext cx="683624" cy="473473"/>
            </a:xfrm>
            <a:prstGeom prst="rect">
              <a:avLst/>
            </a:prstGeom>
          </p:spPr>
        </p:pic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10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5861" y="2689156"/>
              <a:ext cx="501070" cy="496619"/>
            </a:xfrm>
            <a:prstGeom prst="rect">
              <a:avLst/>
            </a:prstGeom>
          </p:spPr>
        </p:pic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49999" y="2678567"/>
              <a:ext cx="543005" cy="537560"/>
            </a:xfrm>
            <a:prstGeom prst="rect">
              <a:avLst/>
            </a:prstGeom>
          </p:spPr>
        </p:pic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12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37122" y="2552262"/>
              <a:ext cx="730249" cy="718178"/>
            </a:xfrm>
            <a:prstGeom prst="rect">
              <a:avLst/>
            </a:prstGeom>
          </p:spPr>
        </p:pic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13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1044" y="2689156"/>
              <a:ext cx="677244" cy="517980"/>
            </a:xfrm>
            <a:prstGeom prst="rect">
              <a:avLst/>
            </a:prstGeom>
          </p:spPr>
        </p:pic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14"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8831734" y="2725382"/>
              <a:ext cx="479330" cy="449372"/>
            </a:xfrm>
            <a:prstGeom prst="rect">
              <a:avLst/>
            </a:prstGeom>
          </p:spPr>
        </p:pic>
        <p:sp>
          <p:nvSpPr>
            <p:cNvPr id="45" name="Rectangle 44"/>
            <p:cNvSpPr/>
            <p:nvPr/>
          </p:nvSpPr>
          <p:spPr>
            <a:xfrm>
              <a:off x="9748025" y="1970704"/>
              <a:ext cx="1189088" cy="1458266"/>
            </a:xfrm>
            <a:prstGeom prst="rect">
              <a:avLst/>
            </a:prstGeom>
            <a:solidFill>
              <a:schemeClr val="tx2">
                <a:lumMod val="75000"/>
                <a:lumOff val="2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Test Environment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anagement</a:t>
              </a:r>
              <a:endParaRPr lang="en-US" sz="900" b="1" dirty="0">
                <a:solidFill>
                  <a:schemeClr val="bg1">
                    <a:lumMod val="95000"/>
                  </a:schemeClr>
                </a:solidFill>
                <a:latin typeface="Expert Sans Regular"/>
              </a:endParaRPr>
            </a:p>
          </p:txBody>
        </p:sp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13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03763" y="2688357"/>
              <a:ext cx="677244" cy="517980"/>
            </a:xfrm>
            <a:prstGeom prst="rect">
              <a:avLst/>
            </a:prstGeom>
          </p:spPr>
        </p:pic>
      </p:grpSp>
      <p:sp>
        <p:nvSpPr>
          <p:cNvPr id="47" name="TextBox 46"/>
          <p:cNvSpPr txBox="1"/>
          <p:nvPr/>
        </p:nvSpPr>
        <p:spPr>
          <a:xfrm>
            <a:off x="1318883" y="5975859"/>
            <a:ext cx="13482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 b="1">
                <a:solidFill>
                  <a:srgbClr val="C3D7A4">
                    <a:lumMod val="75000"/>
                  </a:srgbClr>
                </a:solidFill>
                <a:cs typeface="Arial" pitchFamily="34" charset="0"/>
              </a:defRPr>
            </a:lvl1pPr>
          </a:lstStyle>
          <a:p>
            <a:pPr algn="ctr"/>
            <a:r>
              <a:rPr lang="en-US" sz="1400" b="0" dirty="0" smtClean="0">
                <a:latin typeface="Expert Sans Regular"/>
              </a:rPr>
              <a:t>~</a:t>
            </a:r>
            <a:r>
              <a:rPr lang="en-US" sz="1400" b="0" dirty="0">
                <a:solidFill>
                  <a:srgbClr val="92D050"/>
                </a:solidFill>
                <a:latin typeface="Expert Sans Regular"/>
              </a:rPr>
              <a:t>25</a:t>
            </a:r>
            <a:r>
              <a:rPr lang="en-US" sz="1400" b="0" dirty="0" smtClean="0">
                <a:latin typeface="Expert Sans Regular"/>
              </a:rPr>
              <a:t>% </a:t>
            </a:r>
          </a:p>
          <a:p>
            <a:pPr algn="ctr"/>
            <a:r>
              <a:rPr lang="en-US" sz="1100" b="0" dirty="0" smtClean="0">
                <a:solidFill>
                  <a:schemeClr val="accent1">
                    <a:lumMod val="75000"/>
                  </a:schemeClr>
                </a:solidFill>
                <a:latin typeface="Expert Sans Regular"/>
              </a:rPr>
              <a:t>Spend </a:t>
            </a:r>
            <a:r>
              <a:rPr lang="en-US" sz="1100" b="0" dirty="0" err="1">
                <a:solidFill>
                  <a:schemeClr val="accent1">
                    <a:lumMod val="75000"/>
                  </a:schemeClr>
                </a:solidFill>
                <a:latin typeface="Expert Sans Regular"/>
              </a:rPr>
              <a:t>O</a:t>
            </a:r>
            <a:r>
              <a:rPr lang="en-US" sz="1100" b="0" dirty="0" err="1" smtClean="0">
                <a:solidFill>
                  <a:schemeClr val="accent1">
                    <a:lumMod val="75000"/>
                  </a:schemeClr>
                </a:solidFill>
                <a:latin typeface="Expert Sans Regular"/>
              </a:rPr>
              <a:t>ptimisation</a:t>
            </a:r>
            <a:endParaRPr lang="en-US" sz="1100" b="0" dirty="0">
              <a:solidFill>
                <a:schemeClr val="accent1">
                  <a:lumMod val="75000"/>
                </a:schemeClr>
              </a:solidFill>
              <a:latin typeface="Expert Sans Regular"/>
            </a:endParaRPr>
          </a:p>
        </p:txBody>
      </p:sp>
      <p:pic>
        <p:nvPicPr>
          <p:cNvPr id="48" name="Picture 47" descr="fgyrt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288" y="5478403"/>
            <a:ext cx="466961" cy="492633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2986845" y="5962806"/>
            <a:ext cx="11096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FF0000"/>
                </a:solidFill>
                <a:cs typeface="Arial" pitchFamily="34" charset="0"/>
              </a:defRPr>
            </a:lvl1pPr>
          </a:lstStyle>
          <a:p>
            <a:pPr algn="ctr"/>
            <a:r>
              <a:rPr lang="en-US" sz="1400" b="0" dirty="0">
                <a:solidFill>
                  <a:srgbClr val="92D050"/>
                </a:solidFill>
                <a:latin typeface="Expert Sans Regular"/>
              </a:rPr>
              <a:t>2</a:t>
            </a:r>
            <a:r>
              <a:rPr lang="en-US" sz="1400" b="0" dirty="0" smtClean="0">
                <a:solidFill>
                  <a:srgbClr val="92D050"/>
                </a:solidFill>
                <a:latin typeface="Expert Sans Regular"/>
              </a:rPr>
              <a:t>0%</a:t>
            </a:r>
            <a:r>
              <a:rPr lang="en-US" sz="1200" b="0" dirty="0" smtClean="0">
                <a:solidFill>
                  <a:srgbClr val="92D050"/>
                </a:solidFill>
                <a:latin typeface="Expert Sans Regular"/>
              </a:rPr>
              <a:t> </a:t>
            </a:r>
            <a:r>
              <a:rPr lang="en-US" sz="1100" b="0" dirty="0">
                <a:solidFill>
                  <a:schemeClr val="accent1">
                    <a:lumMod val="75000"/>
                  </a:schemeClr>
                </a:solidFill>
                <a:latin typeface="Expert Sans Regular"/>
              </a:rPr>
              <a:t>I</a:t>
            </a:r>
            <a:r>
              <a:rPr lang="en-US" sz="1100" b="0" dirty="0" smtClean="0">
                <a:solidFill>
                  <a:schemeClr val="accent1">
                    <a:lumMod val="75000"/>
                  </a:schemeClr>
                </a:solidFill>
                <a:latin typeface="Expert Sans Regular"/>
              </a:rPr>
              <a:t>ncrease in </a:t>
            </a:r>
          </a:p>
          <a:p>
            <a:pPr algn="ctr"/>
            <a:r>
              <a:rPr lang="en-US" sz="1100" b="0" dirty="0">
                <a:solidFill>
                  <a:schemeClr val="accent1">
                    <a:lumMod val="75000"/>
                  </a:schemeClr>
                </a:solidFill>
                <a:latin typeface="Expert Sans Regular"/>
              </a:rPr>
              <a:t>A</a:t>
            </a:r>
            <a:r>
              <a:rPr lang="en-US" sz="1100" b="0" dirty="0" smtClean="0">
                <a:solidFill>
                  <a:schemeClr val="accent1">
                    <a:lumMod val="75000"/>
                  </a:schemeClr>
                </a:solidFill>
                <a:latin typeface="Expert Sans Regular"/>
              </a:rPr>
              <a:t>utomation</a:t>
            </a:r>
            <a:endParaRPr lang="en-IN" sz="1100" b="0" dirty="0">
              <a:solidFill>
                <a:schemeClr val="accent1">
                  <a:lumMod val="75000"/>
                </a:schemeClr>
              </a:solidFill>
              <a:latin typeface="Expert Sans Regular"/>
            </a:endParaRPr>
          </a:p>
        </p:txBody>
      </p:sp>
      <p:pic>
        <p:nvPicPr>
          <p:cNvPr id="50" name="Picture 2"/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2365" y="5400006"/>
            <a:ext cx="646034" cy="576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17" cstate="print">
            <a:clrChange>
              <a:clrFrom>
                <a:srgbClr val="DBDAEA"/>
              </a:clrFrom>
              <a:clrTo>
                <a:srgbClr val="DBDAE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5995" y="5447919"/>
            <a:ext cx="578131" cy="523117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4477724" y="5975859"/>
            <a:ext cx="12088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0" dirty="0">
                <a:solidFill>
                  <a:srgbClr val="92D050"/>
                </a:solidFill>
                <a:latin typeface="Expert Sans Regular"/>
              </a:rPr>
              <a:t>2</a:t>
            </a:r>
            <a:r>
              <a:rPr lang="en-US" sz="1400" b="0" dirty="0" smtClean="0">
                <a:solidFill>
                  <a:srgbClr val="92D050"/>
                </a:solidFill>
                <a:latin typeface="Expert Sans Regular"/>
              </a:rPr>
              <a:t>0</a:t>
            </a:r>
            <a:r>
              <a:rPr lang="en-US" sz="1400" b="0" dirty="0">
                <a:solidFill>
                  <a:srgbClr val="92D050"/>
                </a:solidFill>
                <a:latin typeface="Expert Sans Regular"/>
              </a:rPr>
              <a:t>% </a:t>
            </a:r>
            <a:endParaRPr lang="en-US" sz="1400" b="0" dirty="0" smtClean="0">
              <a:solidFill>
                <a:srgbClr val="92D050"/>
              </a:solidFill>
              <a:latin typeface="Expert Sans Regular"/>
            </a:endParaRPr>
          </a:p>
          <a:p>
            <a:pPr algn="ctr"/>
            <a:r>
              <a:rPr lang="en-US" sz="1100" b="0" dirty="0" smtClean="0">
                <a:solidFill>
                  <a:schemeClr val="accent1">
                    <a:lumMod val="75000"/>
                  </a:schemeClr>
                </a:solidFill>
                <a:latin typeface="Expert Sans Regular"/>
              </a:rPr>
              <a:t>Build </a:t>
            </a:r>
            <a:r>
              <a:rPr lang="en-US" sz="1100" b="0" dirty="0">
                <a:solidFill>
                  <a:schemeClr val="accent1">
                    <a:lumMod val="75000"/>
                  </a:schemeClr>
                </a:solidFill>
                <a:latin typeface="Expert Sans Regular"/>
              </a:rPr>
              <a:t>&amp; </a:t>
            </a:r>
            <a:r>
              <a:rPr lang="en-US" sz="1100" b="0" dirty="0" smtClean="0">
                <a:solidFill>
                  <a:schemeClr val="accent1">
                    <a:lumMod val="75000"/>
                  </a:schemeClr>
                </a:solidFill>
                <a:latin typeface="Expert Sans Regular"/>
              </a:rPr>
              <a:t>Release </a:t>
            </a:r>
            <a:r>
              <a:rPr lang="en-US" sz="1100" b="0" dirty="0" err="1" smtClean="0">
                <a:solidFill>
                  <a:schemeClr val="accent1">
                    <a:lumMod val="75000"/>
                  </a:schemeClr>
                </a:solidFill>
                <a:latin typeface="Expert Sans Regular"/>
              </a:rPr>
              <a:t>Optimisation</a:t>
            </a:r>
            <a:r>
              <a:rPr lang="en-US" sz="1100" b="0" dirty="0" smtClean="0">
                <a:solidFill>
                  <a:schemeClr val="accent1">
                    <a:lumMod val="75000"/>
                  </a:schemeClr>
                </a:solidFill>
                <a:latin typeface="Expert Sans Regular"/>
              </a:rPr>
              <a:t> </a:t>
            </a:r>
            <a:endParaRPr lang="en-US" sz="1100" b="0" dirty="0">
              <a:solidFill>
                <a:schemeClr val="accent1">
                  <a:lumMod val="75000"/>
                </a:schemeClr>
              </a:solidFill>
              <a:latin typeface="Expert Sans Regular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5726094" y="6189525"/>
            <a:ext cx="183294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0" dirty="0" smtClean="0">
                <a:solidFill>
                  <a:schemeClr val="accent1">
                    <a:lumMod val="75000"/>
                  </a:schemeClr>
                </a:solidFill>
                <a:latin typeface="Expert Sans Regular"/>
              </a:rPr>
              <a:t>Increased Process </a:t>
            </a:r>
          </a:p>
          <a:p>
            <a:pPr algn="ctr"/>
            <a:r>
              <a:rPr lang="en-US" sz="1100" b="0" dirty="0" err="1">
                <a:solidFill>
                  <a:schemeClr val="accent1">
                    <a:lumMod val="75000"/>
                  </a:schemeClr>
                </a:solidFill>
                <a:latin typeface="Expert Sans Regular"/>
              </a:rPr>
              <a:t>S</a:t>
            </a:r>
            <a:r>
              <a:rPr lang="en-US" sz="1100" b="0" dirty="0" err="1" smtClean="0">
                <a:solidFill>
                  <a:schemeClr val="accent1">
                    <a:lumMod val="75000"/>
                  </a:schemeClr>
                </a:solidFill>
                <a:latin typeface="Expert Sans Regular"/>
              </a:rPr>
              <a:t>tandardisation</a:t>
            </a:r>
            <a:r>
              <a:rPr lang="en-US" sz="1100" b="0" dirty="0" smtClean="0">
                <a:solidFill>
                  <a:schemeClr val="accent1">
                    <a:lumMod val="75000"/>
                  </a:schemeClr>
                </a:solidFill>
                <a:latin typeface="Expert Sans Regular"/>
              </a:rPr>
              <a:t> &amp; </a:t>
            </a:r>
            <a:r>
              <a:rPr lang="en-US" sz="1100" b="0" dirty="0">
                <a:solidFill>
                  <a:schemeClr val="accent1">
                    <a:lumMod val="75000"/>
                  </a:schemeClr>
                </a:solidFill>
                <a:latin typeface="Expert Sans Regular"/>
              </a:rPr>
              <a:t>Maturity</a:t>
            </a:r>
            <a:endParaRPr lang="en-IN" sz="1100" b="0" dirty="0">
              <a:solidFill>
                <a:schemeClr val="accent1">
                  <a:lumMod val="75000"/>
                </a:schemeClr>
              </a:solidFill>
              <a:latin typeface="Expert Sans Regular"/>
            </a:endParaRPr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381" y="5434572"/>
            <a:ext cx="610693" cy="536464"/>
          </a:xfrm>
          <a:prstGeom prst="rect">
            <a:avLst/>
          </a:prstGeom>
        </p:spPr>
      </p:pic>
      <p:pic>
        <p:nvPicPr>
          <p:cNvPr id="55" name="Picture 2" descr="http://162.243.154.54/wp-content/uploads/2014/04/build-icon.png"/>
          <p:cNvPicPr>
            <a:picLocks noChangeAspect="1" noChangeArrowheads="1"/>
          </p:cNvPicPr>
          <p:nvPr/>
        </p:nvPicPr>
        <p:blipFill>
          <a:blip r:embed="rId19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5259" y="5457383"/>
            <a:ext cx="568056" cy="568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TextBox 55"/>
          <p:cNvSpPr txBox="1"/>
          <p:nvPr/>
        </p:nvSpPr>
        <p:spPr>
          <a:xfrm>
            <a:off x="7414934" y="6189099"/>
            <a:ext cx="19673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0" dirty="0" smtClean="0">
                <a:solidFill>
                  <a:schemeClr val="accent1">
                    <a:lumMod val="75000"/>
                  </a:schemeClr>
                </a:solidFill>
                <a:latin typeface="Expert Sans Regular"/>
              </a:rPr>
              <a:t>Technology </a:t>
            </a:r>
            <a:r>
              <a:rPr lang="en-US" sz="1100" b="0" dirty="0" err="1" smtClean="0">
                <a:solidFill>
                  <a:schemeClr val="accent1">
                    <a:lumMod val="75000"/>
                  </a:schemeClr>
                </a:solidFill>
                <a:latin typeface="Expert Sans Regular"/>
              </a:rPr>
              <a:t>Standardisation</a:t>
            </a:r>
            <a:endParaRPr lang="en-US" sz="1100" b="0" dirty="0" smtClean="0">
              <a:solidFill>
                <a:schemeClr val="accent1">
                  <a:lumMod val="75000"/>
                </a:schemeClr>
              </a:solidFill>
              <a:latin typeface="Expert Sans Regular"/>
            </a:endParaRPr>
          </a:p>
          <a:p>
            <a:pPr algn="ctr"/>
            <a:r>
              <a:rPr lang="en-US" sz="1100" b="0" dirty="0" smtClean="0">
                <a:solidFill>
                  <a:schemeClr val="accent1">
                    <a:lumMod val="75000"/>
                  </a:schemeClr>
                </a:solidFill>
                <a:latin typeface="Expert Sans Regular"/>
              </a:rPr>
              <a:t> &amp; Compliance</a:t>
            </a:r>
            <a:endParaRPr lang="en-IN" sz="1100" b="0" dirty="0">
              <a:solidFill>
                <a:schemeClr val="accent1">
                  <a:lumMod val="75000"/>
                </a:schemeClr>
              </a:solidFill>
              <a:latin typeface="Expert Sans Regular"/>
            </a:endParaRPr>
          </a:p>
        </p:txBody>
      </p:sp>
      <p:sp>
        <p:nvSpPr>
          <p:cNvPr id="58" name="Afgeronde rechthoek 162"/>
          <p:cNvSpPr/>
          <p:nvPr/>
        </p:nvSpPr>
        <p:spPr>
          <a:xfrm rot="16200000">
            <a:off x="9205801" y="2298430"/>
            <a:ext cx="688905" cy="261160"/>
          </a:xfrm>
          <a:prstGeom prst="roundRect">
            <a:avLst>
              <a:gd name="adj" fmla="val 20825"/>
            </a:avLst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72000" tIns="90000" rIns="72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US" sz="800" b="0" i="1" kern="0" dirty="0">
                <a:solidFill>
                  <a:srgbClr val="0085CC"/>
                </a:solidFill>
                <a:cs typeface="Myriad Pro"/>
              </a:rPr>
              <a:t>Auto </a:t>
            </a:r>
            <a:r>
              <a:rPr lang="en-US" sz="800" b="0" i="1" kern="0" dirty="0" smtClean="0">
                <a:solidFill>
                  <a:srgbClr val="0085CC"/>
                </a:solidFill>
                <a:cs typeface="Myriad Pro"/>
              </a:rPr>
              <a:t>step</a:t>
            </a:r>
            <a:endParaRPr lang="en-US" sz="800" b="0" i="1" kern="0" dirty="0">
              <a:solidFill>
                <a:srgbClr val="0085CC"/>
              </a:solidFill>
              <a:cs typeface="Myriad Pro"/>
            </a:endParaRPr>
          </a:p>
        </p:txBody>
      </p:sp>
      <p:sp>
        <p:nvSpPr>
          <p:cNvPr id="61" name="Shape 141"/>
          <p:cNvSpPr txBox="1">
            <a:spLocks noGrp="1"/>
          </p:cNvSpPr>
          <p:nvPr>
            <p:ph type="title"/>
          </p:nvPr>
        </p:nvSpPr>
        <p:spPr>
          <a:xfrm rot="16200000">
            <a:off x="-459957" y="2274927"/>
            <a:ext cx="2131999" cy="613955"/>
          </a:xfrm>
          <a:prstGeom prst="rect">
            <a:avLst/>
          </a:prstGeom>
          <a:solidFill>
            <a:srgbClr val="00B0F0"/>
          </a:solidFill>
        </p:spPr>
        <p:txBody>
          <a:bodyPr vert="horz" lIns="91425" tIns="91425" rIns="91425" bIns="91425" rtlCol="0" anchor="ctr" anchorCtr="0">
            <a:noAutofit/>
          </a:bodyPr>
          <a:lstStyle/>
          <a:p>
            <a:pPr algn="r"/>
            <a:r>
              <a:rPr lang="en" sz="1800" i="1" dirty="0" smtClean="0">
                <a:solidFill>
                  <a:schemeClr val="bg1"/>
                </a:solidFill>
                <a:latin typeface="+mn-lt"/>
              </a:rPr>
              <a:t>People &amp; Process</a:t>
            </a:r>
            <a:endParaRPr lang="en" sz="1800" i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2" name="Shape 141"/>
          <p:cNvSpPr txBox="1">
            <a:spLocks/>
          </p:cNvSpPr>
          <p:nvPr/>
        </p:nvSpPr>
        <p:spPr bwMode="auto">
          <a:xfrm rot="16200000">
            <a:off x="-183285" y="4232108"/>
            <a:ext cx="1584367" cy="613955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5" tIns="91425" rIns="91425" bIns="91425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r"/>
            <a:r>
              <a:rPr lang="en" sz="1800" b="0" i="1" kern="0" dirty="0" smtClean="0">
                <a:solidFill>
                  <a:schemeClr val="bg1"/>
                </a:solidFill>
                <a:latin typeface="+mn-lt"/>
              </a:rPr>
              <a:t>Technology</a:t>
            </a:r>
            <a:endParaRPr lang="en" sz="1800" b="0" i="1" kern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3" name="Shape 141"/>
          <p:cNvSpPr txBox="1">
            <a:spLocks/>
          </p:cNvSpPr>
          <p:nvPr/>
        </p:nvSpPr>
        <p:spPr bwMode="auto">
          <a:xfrm rot="16200000">
            <a:off x="21929" y="5712207"/>
            <a:ext cx="1179905" cy="613955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5" tIns="91425" rIns="91425" bIns="91425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r"/>
            <a:r>
              <a:rPr lang="en" sz="1800" b="0" i="1" kern="0" dirty="0" smtClean="0">
                <a:solidFill>
                  <a:schemeClr val="bg1"/>
                </a:solidFill>
                <a:latin typeface="+mn-lt"/>
              </a:rPr>
              <a:t>Benefits</a:t>
            </a:r>
            <a:endParaRPr lang="en" sz="1800" b="0" i="1" kern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4" name="Afgeronde rechthoek 162"/>
          <p:cNvSpPr/>
          <p:nvPr/>
        </p:nvSpPr>
        <p:spPr>
          <a:xfrm rot="16200000">
            <a:off x="9139429" y="3114876"/>
            <a:ext cx="825910" cy="261160"/>
          </a:xfrm>
          <a:prstGeom prst="roundRect">
            <a:avLst>
              <a:gd name="adj" fmla="val 20825"/>
            </a:avLst>
          </a:prstGeom>
          <a:solidFill>
            <a:srgbClr val="1F3B92"/>
          </a:solidFill>
          <a:ln w="9525" cap="flat" cmpd="sng" algn="ctr">
            <a:solidFill>
              <a:srgbClr val="1F3B92">
                <a:shade val="95000"/>
                <a:satMod val="105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72000" tIns="45720" rIns="72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i="1" kern="0" dirty="0" smtClean="0">
                <a:solidFill>
                  <a:prstClr val="white"/>
                </a:solidFill>
                <a:latin typeface="+mn-lt"/>
                <a:cs typeface="Myriad Pro"/>
              </a:rPr>
              <a:t>Manual step</a:t>
            </a:r>
            <a:endParaRPr lang="en-US" sz="900" b="0" i="1" kern="0" dirty="0">
              <a:solidFill>
                <a:prstClr val="white"/>
              </a:solidFill>
              <a:latin typeface="+mn-lt"/>
              <a:cs typeface="Myriad Pro"/>
            </a:endParaRPr>
          </a:p>
        </p:txBody>
      </p:sp>
      <p:sp>
        <p:nvSpPr>
          <p:cNvPr id="66" name="Rectangle 65"/>
          <p:cNvSpPr/>
          <p:nvPr/>
        </p:nvSpPr>
        <p:spPr bwMode="auto">
          <a:xfrm>
            <a:off x="386673" y="848370"/>
            <a:ext cx="9125312" cy="57845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400" i="1" dirty="0">
                <a:solidFill>
                  <a:schemeClr val="bg1"/>
                </a:solidFill>
              </a:rPr>
              <a:t>The desired target state brings in </a:t>
            </a:r>
            <a:r>
              <a:rPr lang="en-GB" sz="1400" i="1" dirty="0" smtClean="0">
                <a:solidFill>
                  <a:schemeClr val="bg1"/>
                </a:solidFill>
              </a:rPr>
              <a:t>process </a:t>
            </a:r>
            <a:r>
              <a:rPr lang="en-GB" sz="1400" i="1" u="sng" dirty="0" smtClean="0">
                <a:solidFill>
                  <a:schemeClr val="bg1"/>
                </a:solidFill>
              </a:rPr>
              <a:t>Standardisation</a:t>
            </a:r>
            <a:r>
              <a:rPr lang="en-GB" sz="1400" i="1" dirty="0" smtClean="0">
                <a:solidFill>
                  <a:schemeClr val="bg1"/>
                </a:solidFill>
              </a:rPr>
              <a:t> and enables </a:t>
            </a:r>
            <a:r>
              <a:rPr lang="en-GB" sz="1400" i="1" u="sng" dirty="0" smtClean="0">
                <a:solidFill>
                  <a:schemeClr val="bg1"/>
                </a:solidFill>
              </a:rPr>
              <a:t>Autonomy</a:t>
            </a:r>
            <a:r>
              <a:rPr lang="en-GB" sz="1400" i="1" dirty="0" smtClean="0">
                <a:solidFill>
                  <a:schemeClr val="bg1"/>
                </a:solidFill>
              </a:rPr>
              <a:t> to the user groups through </a:t>
            </a:r>
            <a:r>
              <a:rPr lang="en-GB" sz="1400" i="1" u="sng" dirty="0" smtClean="0">
                <a:solidFill>
                  <a:schemeClr val="bg1"/>
                </a:solidFill>
              </a:rPr>
              <a:t>Alignment </a:t>
            </a:r>
            <a:r>
              <a:rPr lang="en-GB" sz="1400" i="1" dirty="0" smtClean="0">
                <a:solidFill>
                  <a:schemeClr val="bg1"/>
                </a:solidFill>
              </a:rPr>
              <a:t>with automation tools</a:t>
            </a:r>
            <a:endParaRPr lang="en-GB" sz="1400" i="1" dirty="0">
              <a:solidFill>
                <a:schemeClr val="bg1"/>
              </a:solidFill>
            </a:endParaRPr>
          </a:p>
        </p:txBody>
      </p:sp>
      <p:sp>
        <p:nvSpPr>
          <p:cNvPr id="65" name="Rectangle 2"/>
          <p:cNvSpPr>
            <a:spLocks noChangeArrowheads="1"/>
          </p:cNvSpPr>
          <p:nvPr/>
        </p:nvSpPr>
        <p:spPr bwMode="auto">
          <a:xfrm>
            <a:off x="2650156" y="188915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GB" sz="2400" b="0" dirty="0" smtClean="0">
                <a:solidFill>
                  <a:schemeClr val="tx2"/>
                </a:solidFill>
              </a:rPr>
              <a:t>This Is Where We Want To Be</a:t>
            </a:r>
            <a:endParaRPr lang="en-US" sz="2400" b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06151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rved Down Arrow 2"/>
          <p:cNvSpPr/>
          <p:nvPr/>
        </p:nvSpPr>
        <p:spPr bwMode="auto">
          <a:xfrm rot="764052">
            <a:off x="8721434" y="1510075"/>
            <a:ext cx="403618" cy="284141"/>
          </a:xfrm>
          <a:prstGeom prst="curvedDownArrow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mtClean="0">
              <a:solidFill>
                <a:srgbClr val="808284"/>
              </a:solidFill>
            </a:endParaRPr>
          </a:p>
        </p:txBody>
      </p:sp>
      <p:graphicFrame>
        <p:nvGraphicFramePr>
          <p:cNvPr id="21" name="Diagram 20"/>
          <p:cNvGraphicFramePr/>
          <p:nvPr>
            <p:extLst>
              <p:ext uri="{D42A27DB-BD31-4B8C-83A1-F6EECF244321}">
                <p14:modId xmlns:p14="http://schemas.microsoft.com/office/powerpoint/2010/main" val="1886810666"/>
              </p:ext>
            </p:extLst>
          </p:nvPr>
        </p:nvGraphicFramePr>
        <p:xfrm>
          <a:off x="4519373" y="1823917"/>
          <a:ext cx="7097376" cy="1767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0" name="Diagram 19"/>
          <p:cNvGraphicFramePr/>
          <p:nvPr>
            <p:extLst>
              <p:ext uri="{D42A27DB-BD31-4B8C-83A1-F6EECF244321}">
                <p14:modId xmlns:p14="http://schemas.microsoft.com/office/powerpoint/2010/main" val="3515583376"/>
              </p:ext>
            </p:extLst>
          </p:nvPr>
        </p:nvGraphicFramePr>
        <p:xfrm>
          <a:off x="4175385" y="1706351"/>
          <a:ext cx="7097376" cy="1767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86" name="Rectangle 85"/>
          <p:cNvSpPr/>
          <p:nvPr/>
        </p:nvSpPr>
        <p:spPr>
          <a:xfrm>
            <a:off x="3152014" y="4254993"/>
            <a:ext cx="3032759" cy="2354491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defRPr/>
            </a:pPr>
            <a:r>
              <a:rPr lang="en-US" sz="1300" b="0" kern="0" dirty="0" smtClean="0">
                <a:solidFill>
                  <a:srgbClr val="0085CC"/>
                </a:solidFill>
                <a:latin typeface="Calibri"/>
                <a:cs typeface="Arial"/>
              </a:rPr>
              <a:t>Enable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Establish, Develop Enablers for the </a:t>
            </a:r>
            <a:r>
              <a:rPr lang="en-US" sz="1100" b="0" kern="0" dirty="0" err="1" smtClean="0">
                <a:solidFill>
                  <a:srgbClr val="3C3C3C"/>
                </a:solidFill>
                <a:latin typeface="Calibri"/>
                <a:cs typeface="Arial"/>
              </a:rPr>
              <a:t>DevOPS</a:t>
            </a: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 journey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Validated Continuous Delivery 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areas for the pilot with KPI’s Defined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defRPr/>
            </a:pPr>
            <a:r>
              <a:rPr lang="en-US" sz="1300" b="0" kern="0" dirty="0" smtClean="0">
                <a:solidFill>
                  <a:srgbClr val="0085CC"/>
                </a:solidFill>
                <a:latin typeface="Calibri"/>
                <a:cs typeface="Arial"/>
              </a:rPr>
              <a:t>Execute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Examine existing source code + processes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Plan pilots + tools implementation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Set up of KPI Dashboard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Team Structure and responsibilities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Pilot + DevOps tooling implementation project plan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Just enough CD (optimum risk/cost)</a:t>
            </a:r>
          </a:p>
        </p:txBody>
      </p:sp>
      <p:graphicFrame>
        <p:nvGraphicFramePr>
          <p:cNvPr id="81" name="Diagram 80"/>
          <p:cNvGraphicFramePr/>
          <p:nvPr>
            <p:extLst>
              <p:ext uri="{D42A27DB-BD31-4B8C-83A1-F6EECF244321}">
                <p14:modId xmlns:p14="http://schemas.microsoft.com/office/powerpoint/2010/main" val="3338116292"/>
              </p:ext>
            </p:extLst>
          </p:nvPr>
        </p:nvGraphicFramePr>
        <p:xfrm>
          <a:off x="5040082" y="1653323"/>
          <a:ext cx="5201198" cy="23638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82" name="Diagram 81"/>
          <p:cNvGraphicFramePr/>
          <p:nvPr>
            <p:extLst>
              <p:ext uri="{D42A27DB-BD31-4B8C-83A1-F6EECF244321}">
                <p14:modId xmlns:p14="http://schemas.microsoft.com/office/powerpoint/2010/main" val="588710813"/>
              </p:ext>
            </p:extLst>
          </p:nvPr>
        </p:nvGraphicFramePr>
        <p:xfrm>
          <a:off x="-839510" y="1814158"/>
          <a:ext cx="4960405" cy="21521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aphicFrame>
        <p:nvGraphicFramePr>
          <p:cNvPr id="83" name="Diagram 82"/>
          <p:cNvGraphicFramePr/>
          <p:nvPr>
            <p:extLst>
              <p:ext uri="{D42A27DB-BD31-4B8C-83A1-F6EECF244321}">
                <p14:modId xmlns:p14="http://schemas.microsoft.com/office/powerpoint/2010/main" val="3133622770"/>
              </p:ext>
            </p:extLst>
          </p:nvPr>
        </p:nvGraphicFramePr>
        <p:xfrm>
          <a:off x="2220683" y="1807346"/>
          <a:ext cx="4495800" cy="2768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sp>
        <p:nvSpPr>
          <p:cNvPr id="84" name="Rectangle 83"/>
          <p:cNvSpPr/>
          <p:nvPr/>
        </p:nvSpPr>
        <p:spPr>
          <a:xfrm>
            <a:off x="6472642" y="3550020"/>
            <a:ext cx="3048000" cy="3093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defRPr/>
            </a:pPr>
            <a:r>
              <a:rPr lang="en-US" sz="1300" b="0" kern="0" dirty="0" smtClean="0">
                <a:solidFill>
                  <a:srgbClr val="0085CC"/>
                </a:solidFill>
                <a:latin typeface="Calibri"/>
                <a:cs typeface="Arial"/>
              </a:rPr>
              <a:t>Socialize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Champions /Evangelists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Gamification – Incentives (***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defRPr/>
            </a:pPr>
            <a:r>
              <a:rPr lang="en-US" sz="1300" b="0" kern="0" dirty="0" smtClean="0">
                <a:solidFill>
                  <a:srgbClr val="0085CC"/>
                </a:solidFill>
                <a:latin typeface="Calibri"/>
                <a:cs typeface="Arial"/>
              </a:rPr>
              <a:t>Roll-Out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Operate DevOps teams for projects - Implement DevOps tooling for the projects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Implementation guidanc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defRPr/>
            </a:pPr>
            <a:r>
              <a:rPr lang="en-US" sz="1300" b="0" kern="0" dirty="0" smtClean="0">
                <a:solidFill>
                  <a:srgbClr val="0085CC"/>
                </a:solidFill>
                <a:latin typeface="Calibri"/>
                <a:cs typeface="Arial"/>
              </a:rPr>
              <a:t>Measure and Improve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Measure Performance 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Show performance in assigned domain by delivering business value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Per sprint improved usage per three sprints Pilot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Grow step by step in full Continuous deliver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defRPr/>
            </a:pPr>
            <a:r>
              <a:rPr lang="en-US" sz="1300" b="0" kern="0" dirty="0" smtClean="0">
                <a:solidFill>
                  <a:srgbClr val="0085CC"/>
                </a:solidFill>
                <a:latin typeface="Calibri"/>
                <a:cs typeface="Arial"/>
              </a:rPr>
              <a:t>Post Implementation Reporting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Lessons Learnt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Feedback from project team</a:t>
            </a:r>
          </a:p>
        </p:txBody>
      </p:sp>
      <p:sp>
        <p:nvSpPr>
          <p:cNvPr id="85" name="Rectangle 84"/>
          <p:cNvSpPr/>
          <p:nvPr/>
        </p:nvSpPr>
        <p:spPr>
          <a:xfrm>
            <a:off x="696684" y="3550020"/>
            <a:ext cx="2286000" cy="3093154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defRPr/>
            </a:pPr>
            <a:r>
              <a:rPr lang="en-US" sz="1300" b="0" kern="0" dirty="0" smtClean="0">
                <a:solidFill>
                  <a:srgbClr val="0085CC"/>
                </a:solidFill>
                <a:latin typeface="Calibri"/>
                <a:cs typeface="Arial"/>
              </a:rPr>
              <a:t>Analyze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Data Collection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Application Inventory</a:t>
            </a:r>
            <a:endParaRPr lang="en-IN" sz="1100" b="0" kern="0" dirty="0" smtClean="0">
              <a:solidFill>
                <a:srgbClr val="3C3C3C"/>
              </a:solidFill>
              <a:latin typeface="Calibri"/>
              <a:cs typeface="Arial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Clustering</a:t>
            </a:r>
            <a:endParaRPr lang="en-IN" sz="1100" b="0" kern="0" dirty="0" smtClean="0">
              <a:solidFill>
                <a:srgbClr val="3C3C3C"/>
              </a:solidFill>
              <a:latin typeface="Calibri"/>
              <a:cs typeface="Arial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Integration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defRPr/>
            </a:pPr>
            <a:r>
              <a:rPr lang="en-US" sz="1300" b="0" kern="0" dirty="0" smtClean="0">
                <a:solidFill>
                  <a:srgbClr val="0085CC"/>
                </a:solidFill>
                <a:latin typeface="Calibri"/>
                <a:cs typeface="Arial"/>
              </a:rPr>
              <a:t>Identify Key Areas of</a:t>
            </a:r>
            <a:br>
              <a:rPr lang="en-US" sz="1300" b="0" kern="0" dirty="0" smtClean="0">
                <a:solidFill>
                  <a:srgbClr val="0085CC"/>
                </a:solidFill>
                <a:latin typeface="Calibri"/>
                <a:cs typeface="Arial"/>
              </a:rPr>
            </a:br>
            <a:r>
              <a:rPr lang="en-US" sz="1300" b="0" kern="0" dirty="0" smtClean="0">
                <a:solidFill>
                  <a:srgbClr val="0085CC"/>
                </a:solidFill>
                <a:latin typeface="Calibri"/>
                <a:cs typeface="Arial"/>
              </a:rPr>
              <a:t>Improvements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Tools – new/existing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Continuous Delivery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Test automation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Continuous Integratio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defRPr/>
            </a:pPr>
            <a:r>
              <a:rPr lang="en-US" sz="1300" b="0" kern="0" dirty="0" smtClean="0">
                <a:solidFill>
                  <a:srgbClr val="0085CC"/>
                </a:solidFill>
                <a:latin typeface="Calibri"/>
                <a:cs typeface="Arial"/>
              </a:rPr>
              <a:t>Strategize 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Plan - Definition of DONE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Prototype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Scope definition – 3m/6m/1yr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F37022"/>
              </a:buClr>
              <a:buFont typeface="Wingdings" charset="2"/>
              <a:buChar char="§"/>
              <a:defRPr/>
            </a:pP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Evaluate against the </a:t>
            </a:r>
            <a:r>
              <a:rPr lang="en-US" sz="1100" b="0" kern="0" dirty="0" err="1" smtClean="0">
                <a:solidFill>
                  <a:srgbClr val="3C3C3C"/>
                </a:solidFill>
                <a:latin typeface="Calibri"/>
                <a:cs typeface="Arial"/>
              </a:rPr>
              <a:t>DevOPS</a:t>
            </a:r>
            <a:r>
              <a:rPr lang="en-US" sz="1100" b="0" kern="0" dirty="0" smtClean="0">
                <a:solidFill>
                  <a:srgbClr val="3C3C3C"/>
                </a:solidFill>
                <a:latin typeface="Calibri"/>
                <a:cs typeface="Arial"/>
              </a:rPr>
              <a:t> Maturity Model</a:t>
            </a:r>
          </a:p>
        </p:txBody>
      </p:sp>
      <p:cxnSp>
        <p:nvCxnSpPr>
          <p:cNvPr id="87" name="Straight Connector 86"/>
          <p:cNvCxnSpPr/>
          <p:nvPr/>
        </p:nvCxnSpPr>
        <p:spPr>
          <a:xfrm>
            <a:off x="6320242" y="3376218"/>
            <a:ext cx="0" cy="3308598"/>
          </a:xfrm>
          <a:prstGeom prst="line">
            <a:avLst/>
          </a:prstGeom>
          <a:noFill/>
          <a:ln w="19050" cap="flat" cmpd="sng" algn="ctr">
            <a:solidFill>
              <a:srgbClr val="D1D1D1"/>
            </a:solidFill>
            <a:prstDash val="solid"/>
          </a:ln>
          <a:effectLst/>
        </p:spPr>
      </p:cxnSp>
      <p:cxnSp>
        <p:nvCxnSpPr>
          <p:cNvPr id="88" name="Straight Connector 87"/>
          <p:cNvCxnSpPr/>
          <p:nvPr/>
        </p:nvCxnSpPr>
        <p:spPr>
          <a:xfrm>
            <a:off x="2940344" y="3407038"/>
            <a:ext cx="0" cy="3308598"/>
          </a:xfrm>
          <a:prstGeom prst="line">
            <a:avLst/>
          </a:prstGeom>
          <a:noFill/>
          <a:ln w="19050" cap="flat" cmpd="sng" algn="ctr">
            <a:solidFill>
              <a:srgbClr val="D1D1D1"/>
            </a:solidFill>
            <a:prstDash val="solid"/>
          </a:ln>
          <a:effectLst/>
        </p:spPr>
      </p:cxnSp>
      <p:sp>
        <p:nvSpPr>
          <p:cNvPr id="93" name="Rectangle 92"/>
          <p:cNvSpPr/>
          <p:nvPr/>
        </p:nvSpPr>
        <p:spPr bwMode="auto">
          <a:xfrm>
            <a:off x="377640" y="838101"/>
            <a:ext cx="9125312" cy="52621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400" i="1" dirty="0">
                <a:solidFill>
                  <a:schemeClr val="bg1"/>
                </a:solidFill>
              </a:rPr>
              <a:t>Solution delivery approach involves steering DevOps adoption by building the foundation platform as part of the Pilot. Post-pilot rollouts to have feedback mechanism for continuous improvement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289074" y="2292878"/>
            <a:ext cx="977870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kern="0" dirty="0">
                <a:solidFill>
                  <a:srgbClr val="3C3C3C">
                    <a:hueOff val="0"/>
                    <a:satOff val="0"/>
                    <a:lumOff val="0"/>
                    <a:alphaOff val="0"/>
                  </a:srgbClr>
                </a:solidFill>
                <a:latin typeface="Calibri"/>
                <a:cs typeface="Arial"/>
              </a:rPr>
              <a:t>Identify / Build Primary Enablers</a:t>
            </a:r>
          </a:p>
          <a:p>
            <a:endParaRPr lang="en-US" dirty="0">
              <a:solidFill>
                <a:srgbClr val="808284"/>
              </a:solidFill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2650156" y="188915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GB" sz="2400" b="0" dirty="0" smtClean="0">
                <a:solidFill>
                  <a:srgbClr val="00A4E8"/>
                </a:solidFill>
              </a:rPr>
              <a:t>Our Approach to Deliver</a:t>
            </a:r>
            <a:endParaRPr lang="en-US" sz="2400" b="0" dirty="0">
              <a:solidFill>
                <a:srgbClr val="00A4E8"/>
              </a:solidFill>
            </a:endParaRPr>
          </a:p>
        </p:txBody>
      </p:sp>
      <p:graphicFrame>
        <p:nvGraphicFramePr>
          <p:cNvPr id="19" name="Diagram 18"/>
          <p:cNvGraphicFramePr/>
          <p:nvPr>
            <p:extLst>
              <p:ext uri="{D42A27DB-BD31-4B8C-83A1-F6EECF244321}">
                <p14:modId xmlns:p14="http://schemas.microsoft.com/office/powerpoint/2010/main" val="1102659032"/>
              </p:ext>
            </p:extLst>
          </p:nvPr>
        </p:nvGraphicFramePr>
        <p:xfrm>
          <a:off x="696684" y="1580802"/>
          <a:ext cx="7956249" cy="1716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7" r:lo="rId28" r:qs="rId29" r:cs="rId30"/>
          </a:graphicData>
        </a:graphic>
      </p:graphicFrame>
      <p:sp>
        <p:nvSpPr>
          <p:cNvPr id="23" name="Curved Down Arrow 22"/>
          <p:cNvSpPr/>
          <p:nvPr/>
        </p:nvSpPr>
        <p:spPr bwMode="auto">
          <a:xfrm rot="11417093">
            <a:off x="8647415" y="1880186"/>
            <a:ext cx="403618" cy="284141"/>
          </a:xfrm>
          <a:prstGeom prst="curvedDownArrow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mtClean="0">
              <a:solidFill>
                <a:srgbClr val="80828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6445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rcorp resource review 1st Dec V0 5">
  <a:themeElements>
    <a:clrScheme name="1_Default Design 15">
      <a:dk1>
        <a:srgbClr val="808284"/>
      </a:dk1>
      <a:lt1>
        <a:srgbClr val="FFFFFF"/>
      </a:lt1>
      <a:dk2>
        <a:srgbClr val="00A4E8"/>
      </a:dk2>
      <a:lt2>
        <a:srgbClr val="E2E3E4"/>
      </a:lt2>
      <a:accent1>
        <a:srgbClr val="8ED8F8"/>
      </a:accent1>
      <a:accent2>
        <a:srgbClr val="003A63"/>
      </a:accent2>
      <a:accent3>
        <a:srgbClr val="FFFFFF"/>
      </a:accent3>
      <a:accent4>
        <a:srgbClr val="6C6E70"/>
      </a:accent4>
      <a:accent5>
        <a:srgbClr val="C6E9FB"/>
      </a:accent5>
      <a:accent6>
        <a:srgbClr val="003459"/>
      </a:accent6>
      <a:hlink>
        <a:srgbClr val="00C0F3"/>
      </a:hlink>
      <a:folHlink>
        <a:srgbClr val="5BCBF5"/>
      </a:folHlink>
    </a:clrScheme>
    <a:fontScheme name="1_Default Design">
      <a:majorFont>
        <a:latin typeface="Expert Sans Regular"/>
        <a:ea typeface=""/>
        <a:cs typeface="Arial"/>
      </a:majorFont>
      <a:minorFont>
        <a:latin typeface="Expert Sans Regular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xpert Sans Regular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xpert Sans Regular" pitchFamily="34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808284"/>
        </a:dk1>
        <a:lt1>
          <a:srgbClr val="FFFFFF"/>
        </a:lt1>
        <a:dk2>
          <a:srgbClr val="003A63"/>
        </a:dk2>
        <a:lt2>
          <a:srgbClr val="8ED8F8"/>
        </a:lt2>
        <a:accent1>
          <a:srgbClr val="00A4E8"/>
        </a:accent1>
        <a:accent2>
          <a:srgbClr val="00528A"/>
        </a:accent2>
        <a:accent3>
          <a:srgbClr val="AAAEB7"/>
        </a:accent3>
        <a:accent4>
          <a:srgbClr val="DADADA"/>
        </a:accent4>
        <a:accent5>
          <a:srgbClr val="AACFF2"/>
        </a:accent5>
        <a:accent6>
          <a:srgbClr val="00497D"/>
        </a:accent6>
        <a:hlink>
          <a:srgbClr val="F58025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C0F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AEDC"/>
        </a:accent6>
        <a:hlink>
          <a:srgbClr val="00A4E8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3A6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3459"/>
        </a:accent6>
        <a:hlink>
          <a:srgbClr val="00C0F3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2_Default Design">
  <a:themeElements>
    <a:clrScheme name="21_Default Design 15">
      <a:dk1>
        <a:srgbClr val="808284"/>
      </a:dk1>
      <a:lt1>
        <a:srgbClr val="FFFFFF"/>
      </a:lt1>
      <a:dk2>
        <a:srgbClr val="00A4E8"/>
      </a:dk2>
      <a:lt2>
        <a:srgbClr val="E2E3E4"/>
      </a:lt2>
      <a:accent1>
        <a:srgbClr val="8ED8F8"/>
      </a:accent1>
      <a:accent2>
        <a:srgbClr val="003A63"/>
      </a:accent2>
      <a:accent3>
        <a:srgbClr val="FFFFFF"/>
      </a:accent3>
      <a:accent4>
        <a:srgbClr val="6C6E70"/>
      </a:accent4>
      <a:accent5>
        <a:srgbClr val="C6E9FB"/>
      </a:accent5>
      <a:accent6>
        <a:srgbClr val="003459"/>
      </a:accent6>
      <a:hlink>
        <a:srgbClr val="00C0F3"/>
      </a:hlink>
      <a:folHlink>
        <a:srgbClr val="5BCBF5"/>
      </a:folHlink>
    </a:clrScheme>
    <a:fontScheme name="21_Default Design">
      <a:majorFont>
        <a:latin typeface="Expert Sans Regular"/>
        <a:ea typeface=""/>
        <a:cs typeface="Arial"/>
      </a:majorFont>
      <a:minorFont>
        <a:latin typeface="Expert Sans Regular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13">
        <a:dk1>
          <a:srgbClr val="808284"/>
        </a:dk1>
        <a:lt1>
          <a:srgbClr val="FFFFFF"/>
        </a:lt1>
        <a:dk2>
          <a:srgbClr val="003A63"/>
        </a:dk2>
        <a:lt2>
          <a:srgbClr val="8ED8F8"/>
        </a:lt2>
        <a:accent1>
          <a:srgbClr val="00A4E8"/>
        </a:accent1>
        <a:accent2>
          <a:srgbClr val="00528A"/>
        </a:accent2>
        <a:accent3>
          <a:srgbClr val="AAAEB7"/>
        </a:accent3>
        <a:accent4>
          <a:srgbClr val="DADADA"/>
        </a:accent4>
        <a:accent5>
          <a:srgbClr val="AACFF2"/>
        </a:accent5>
        <a:accent6>
          <a:srgbClr val="00497D"/>
        </a:accent6>
        <a:hlink>
          <a:srgbClr val="F58025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14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C0F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AEDC"/>
        </a:accent6>
        <a:hlink>
          <a:srgbClr val="00A4E8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15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3A6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3459"/>
        </a:accent6>
        <a:hlink>
          <a:srgbClr val="00C0F3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2_LAN039_Barclays_Template_021612_7c">
  <a:themeElements>
    <a:clrScheme name="Barclays_Template">
      <a:dk1>
        <a:srgbClr val="000000"/>
      </a:dk1>
      <a:lt1>
        <a:srgbClr val="FFFFFF"/>
      </a:lt1>
      <a:dk2>
        <a:srgbClr val="969696"/>
      </a:dk2>
      <a:lt2>
        <a:srgbClr val="00AEEF"/>
      </a:lt2>
      <a:accent1>
        <a:srgbClr val="FBDB81"/>
      </a:accent1>
      <a:accent2>
        <a:srgbClr val="EC8A40"/>
      </a:accent2>
      <a:accent3>
        <a:srgbClr val="CB5151"/>
      </a:accent3>
      <a:accent4>
        <a:srgbClr val="00395C"/>
      </a:accent4>
      <a:accent5>
        <a:srgbClr val="406B85"/>
      </a:accent5>
      <a:accent6>
        <a:srgbClr val="809CAE"/>
      </a:accent6>
      <a:hlink>
        <a:srgbClr val="007882"/>
      </a:hlink>
      <a:folHlink>
        <a:srgbClr val="143C78"/>
      </a:folHlink>
    </a:clrScheme>
    <a:fontScheme name="Barclays_template_fonts">
      <a:majorFont>
        <a:latin typeface="Expert Sans Regular"/>
        <a:ea typeface=""/>
        <a:cs typeface=""/>
      </a:majorFont>
      <a:minorFont>
        <a:latin typeface="Expert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Slide master 1 1">
        <a:dk1>
          <a:srgbClr val="000000"/>
        </a:dk1>
        <a:lt1>
          <a:srgbClr val="FFFFFF"/>
        </a:lt1>
        <a:dk2>
          <a:srgbClr val="0F90C3"/>
        </a:dk2>
        <a:lt2>
          <a:srgbClr val="00AEEF"/>
        </a:lt2>
        <a:accent1>
          <a:srgbClr val="4D595F"/>
        </a:accent1>
        <a:accent2>
          <a:srgbClr val="00A9B1"/>
        </a:accent2>
        <a:accent3>
          <a:srgbClr val="FFFFFF"/>
        </a:accent3>
        <a:accent4>
          <a:srgbClr val="000000"/>
        </a:accent4>
        <a:accent5>
          <a:srgbClr val="B2B5B6"/>
        </a:accent5>
        <a:accent6>
          <a:srgbClr val="0099A0"/>
        </a:accent6>
        <a:hlink>
          <a:srgbClr val="007882"/>
        </a:hlink>
        <a:folHlink>
          <a:srgbClr val="143C7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3_LAN039_Barclays_Template_021612_7c">
  <a:themeElements>
    <a:clrScheme name="Barclays_Template">
      <a:dk1>
        <a:srgbClr val="000000"/>
      </a:dk1>
      <a:lt1>
        <a:srgbClr val="FFFFFF"/>
      </a:lt1>
      <a:dk2>
        <a:srgbClr val="969696"/>
      </a:dk2>
      <a:lt2>
        <a:srgbClr val="00AEEF"/>
      </a:lt2>
      <a:accent1>
        <a:srgbClr val="FBDB81"/>
      </a:accent1>
      <a:accent2>
        <a:srgbClr val="EC8A40"/>
      </a:accent2>
      <a:accent3>
        <a:srgbClr val="CB5151"/>
      </a:accent3>
      <a:accent4>
        <a:srgbClr val="00395C"/>
      </a:accent4>
      <a:accent5>
        <a:srgbClr val="406B85"/>
      </a:accent5>
      <a:accent6>
        <a:srgbClr val="809CAE"/>
      </a:accent6>
      <a:hlink>
        <a:srgbClr val="007882"/>
      </a:hlink>
      <a:folHlink>
        <a:srgbClr val="143C78"/>
      </a:folHlink>
    </a:clrScheme>
    <a:fontScheme name="Barclays_template_fonts">
      <a:majorFont>
        <a:latin typeface="Expert Sans Regular"/>
        <a:ea typeface=""/>
        <a:cs typeface=""/>
      </a:majorFont>
      <a:minorFont>
        <a:latin typeface="Expert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</a:spPr>
      <a:bodyPr lIns="48043" tIns="61007" rIns="48043" bIns="61007" anchor="ctr"/>
      <a:lstStyle>
        <a:defPPr algn="ctr" defTabSz="611188">
          <a:defRPr sz="1100" dirty="0" smtClean="0">
            <a:solidFill>
              <a:srgbClr val="FFFFFF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Slide master 1 1">
        <a:dk1>
          <a:srgbClr val="000000"/>
        </a:dk1>
        <a:lt1>
          <a:srgbClr val="FFFFFF"/>
        </a:lt1>
        <a:dk2>
          <a:srgbClr val="0F90C3"/>
        </a:dk2>
        <a:lt2>
          <a:srgbClr val="00AEEF"/>
        </a:lt2>
        <a:accent1>
          <a:srgbClr val="4D595F"/>
        </a:accent1>
        <a:accent2>
          <a:srgbClr val="00A9B1"/>
        </a:accent2>
        <a:accent3>
          <a:srgbClr val="FFFFFF"/>
        </a:accent3>
        <a:accent4>
          <a:srgbClr val="000000"/>
        </a:accent4>
        <a:accent5>
          <a:srgbClr val="B2B5B6"/>
        </a:accent5>
        <a:accent6>
          <a:srgbClr val="0099A0"/>
        </a:accent6>
        <a:hlink>
          <a:srgbClr val="007882"/>
        </a:hlink>
        <a:folHlink>
          <a:srgbClr val="143C7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7_LAN039_Barclays_Template_021612_7c">
  <a:themeElements>
    <a:clrScheme name="Slide master 1 1">
      <a:dk1>
        <a:srgbClr val="000000"/>
      </a:dk1>
      <a:lt1>
        <a:srgbClr val="FFFFFF"/>
      </a:lt1>
      <a:dk2>
        <a:srgbClr val="0F90C3"/>
      </a:dk2>
      <a:lt2>
        <a:srgbClr val="00AEEF"/>
      </a:lt2>
      <a:accent1>
        <a:srgbClr val="4D595F"/>
      </a:accent1>
      <a:accent2>
        <a:srgbClr val="00A9B1"/>
      </a:accent2>
      <a:accent3>
        <a:srgbClr val="FFFFFF"/>
      </a:accent3>
      <a:accent4>
        <a:srgbClr val="000000"/>
      </a:accent4>
      <a:accent5>
        <a:srgbClr val="B2B5B6"/>
      </a:accent5>
      <a:accent6>
        <a:srgbClr val="0099A0"/>
      </a:accent6>
      <a:hlink>
        <a:srgbClr val="007882"/>
      </a:hlink>
      <a:folHlink>
        <a:srgbClr val="143C78"/>
      </a:folHlink>
    </a:clrScheme>
    <a:fontScheme name="Barclays_template_fonts">
      <a:majorFont>
        <a:latin typeface="Expert Sans Regular"/>
        <a:ea typeface=""/>
        <a:cs typeface=""/>
      </a:majorFont>
      <a:minorFont>
        <a:latin typeface="Expert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lIns="0" tIns="0" rIns="0" bIns="0">
        <a:spAutoFit/>
      </a:bodyPr>
      <a:lstStyle>
        <a:defPPr eaLnBrk="1" hangingPunct="1">
          <a:defRPr sz="700" dirty="0" smtClean="0">
            <a:solidFill>
              <a:schemeClr val="tx1"/>
            </a:solidFill>
            <a:latin typeface="Expert Sans Regular" pitchFamily="34" charset="0"/>
          </a:defRPr>
        </a:defPPr>
      </a:lstStyle>
    </a:txDef>
  </a:objectDefaults>
  <a:extraClrSchemeLst>
    <a:extraClrScheme>
      <a:clrScheme name="Slide master 1 1">
        <a:dk1>
          <a:srgbClr val="000000"/>
        </a:dk1>
        <a:lt1>
          <a:srgbClr val="FFFFFF"/>
        </a:lt1>
        <a:dk2>
          <a:srgbClr val="0F90C3"/>
        </a:dk2>
        <a:lt2>
          <a:srgbClr val="00AEEF"/>
        </a:lt2>
        <a:accent1>
          <a:srgbClr val="4D595F"/>
        </a:accent1>
        <a:accent2>
          <a:srgbClr val="00A9B1"/>
        </a:accent2>
        <a:accent3>
          <a:srgbClr val="FFFFFF"/>
        </a:accent3>
        <a:accent4>
          <a:srgbClr val="000000"/>
        </a:accent4>
        <a:accent5>
          <a:srgbClr val="B2B5B6"/>
        </a:accent5>
        <a:accent6>
          <a:srgbClr val="0099A0"/>
        </a:accent6>
        <a:hlink>
          <a:srgbClr val="007882"/>
        </a:hlink>
        <a:folHlink>
          <a:srgbClr val="143C7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2_Barcorp resource review 1st Dec V0 5">
  <a:themeElements>
    <a:clrScheme name="1_Default Design 15">
      <a:dk1>
        <a:srgbClr val="808284"/>
      </a:dk1>
      <a:lt1>
        <a:srgbClr val="FFFFFF"/>
      </a:lt1>
      <a:dk2>
        <a:srgbClr val="00A4E8"/>
      </a:dk2>
      <a:lt2>
        <a:srgbClr val="E2E3E4"/>
      </a:lt2>
      <a:accent1>
        <a:srgbClr val="8ED8F8"/>
      </a:accent1>
      <a:accent2>
        <a:srgbClr val="003A63"/>
      </a:accent2>
      <a:accent3>
        <a:srgbClr val="FFFFFF"/>
      </a:accent3>
      <a:accent4>
        <a:srgbClr val="6C6E70"/>
      </a:accent4>
      <a:accent5>
        <a:srgbClr val="C6E9FB"/>
      </a:accent5>
      <a:accent6>
        <a:srgbClr val="003459"/>
      </a:accent6>
      <a:hlink>
        <a:srgbClr val="00C0F3"/>
      </a:hlink>
      <a:folHlink>
        <a:srgbClr val="5BCBF5"/>
      </a:folHlink>
    </a:clrScheme>
    <a:fontScheme name="1_Default Design">
      <a:majorFont>
        <a:latin typeface="Expert Sans Regular"/>
        <a:ea typeface=""/>
        <a:cs typeface="Arial"/>
      </a:majorFont>
      <a:minorFont>
        <a:latin typeface="Expert Sans Regular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xpert Sans Regular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xpert Sans Regular" pitchFamily="34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808284"/>
        </a:dk1>
        <a:lt1>
          <a:srgbClr val="FFFFFF"/>
        </a:lt1>
        <a:dk2>
          <a:srgbClr val="003A63"/>
        </a:dk2>
        <a:lt2>
          <a:srgbClr val="8ED8F8"/>
        </a:lt2>
        <a:accent1>
          <a:srgbClr val="00A4E8"/>
        </a:accent1>
        <a:accent2>
          <a:srgbClr val="00528A"/>
        </a:accent2>
        <a:accent3>
          <a:srgbClr val="AAAEB7"/>
        </a:accent3>
        <a:accent4>
          <a:srgbClr val="DADADA"/>
        </a:accent4>
        <a:accent5>
          <a:srgbClr val="AACFF2"/>
        </a:accent5>
        <a:accent6>
          <a:srgbClr val="00497D"/>
        </a:accent6>
        <a:hlink>
          <a:srgbClr val="F58025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C0F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AEDC"/>
        </a:accent6>
        <a:hlink>
          <a:srgbClr val="00A4E8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3A6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3459"/>
        </a:accent6>
        <a:hlink>
          <a:srgbClr val="00C0F3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Default Design">
  <a:themeElements>
    <a:clrScheme name="3_Default Design 15">
      <a:dk1>
        <a:srgbClr val="808284"/>
      </a:dk1>
      <a:lt1>
        <a:srgbClr val="FFFFFF"/>
      </a:lt1>
      <a:dk2>
        <a:srgbClr val="00A4E8"/>
      </a:dk2>
      <a:lt2>
        <a:srgbClr val="E2E3E4"/>
      </a:lt2>
      <a:accent1>
        <a:srgbClr val="8ED8F8"/>
      </a:accent1>
      <a:accent2>
        <a:srgbClr val="003A63"/>
      </a:accent2>
      <a:accent3>
        <a:srgbClr val="FFFFFF"/>
      </a:accent3>
      <a:accent4>
        <a:srgbClr val="6C6E70"/>
      </a:accent4>
      <a:accent5>
        <a:srgbClr val="C6E9FB"/>
      </a:accent5>
      <a:accent6>
        <a:srgbClr val="003459"/>
      </a:accent6>
      <a:hlink>
        <a:srgbClr val="00C0F3"/>
      </a:hlink>
      <a:folHlink>
        <a:srgbClr val="5BCBF5"/>
      </a:folHlink>
    </a:clrScheme>
    <a:fontScheme name="3_Default Design">
      <a:majorFont>
        <a:latin typeface="Expert Sans Regular"/>
        <a:ea typeface=""/>
        <a:cs typeface="Arial"/>
      </a:majorFont>
      <a:minorFont>
        <a:latin typeface="Expert Sans Regular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3">
        <a:dk1>
          <a:srgbClr val="808284"/>
        </a:dk1>
        <a:lt1>
          <a:srgbClr val="FFFFFF"/>
        </a:lt1>
        <a:dk2>
          <a:srgbClr val="003A63"/>
        </a:dk2>
        <a:lt2>
          <a:srgbClr val="8ED8F8"/>
        </a:lt2>
        <a:accent1>
          <a:srgbClr val="00A4E8"/>
        </a:accent1>
        <a:accent2>
          <a:srgbClr val="00528A"/>
        </a:accent2>
        <a:accent3>
          <a:srgbClr val="AAAEB7"/>
        </a:accent3>
        <a:accent4>
          <a:srgbClr val="DADADA"/>
        </a:accent4>
        <a:accent5>
          <a:srgbClr val="AACFF2"/>
        </a:accent5>
        <a:accent6>
          <a:srgbClr val="00497D"/>
        </a:accent6>
        <a:hlink>
          <a:srgbClr val="F58025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4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C0F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AEDC"/>
        </a:accent6>
        <a:hlink>
          <a:srgbClr val="00A4E8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15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3A6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3459"/>
        </a:accent6>
        <a:hlink>
          <a:srgbClr val="00C0F3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Std pack">
  <a:themeElements>
    <a:clrScheme name="Std pack 15">
      <a:dk1>
        <a:srgbClr val="808284"/>
      </a:dk1>
      <a:lt1>
        <a:srgbClr val="FFFFFF"/>
      </a:lt1>
      <a:dk2>
        <a:srgbClr val="00A4E8"/>
      </a:dk2>
      <a:lt2>
        <a:srgbClr val="E2E3E4"/>
      </a:lt2>
      <a:accent1>
        <a:srgbClr val="8ED8F8"/>
      </a:accent1>
      <a:accent2>
        <a:srgbClr val="003A63"/>
      </a:accent2>
      <a:accent3>
        <a:srgbClr val="FFFFFF"/>
      </a:accent3>
      <a:accent4>
        <a:srgbClr val="6C6E70"/>
      </a:accent4>
      <a:accent5>
        <a:srgbClr val="C6E9FB"/>
      </a:accent5>
      <a:accent6>
        <a:srgbClr val="003459"/>
      </a:accent6>
      <a:hlink>
        <a:srgbClr val="00C0F3"/>
      </a:hlink>
      <a:folHlink>
        <a:srgbClr val="5BCBF5"/>
      </a:folHlink>
    </a:clrScheme>
    <a:fontScheme name="Std pack">
      <a:majorFont>
        <a:latin typeface="Expert Sans Regular"/>
        <a:ea typeface=""/>
        <a:cs typeface="Arial"/>
      </a:majorFont>
      <a:minorFont>
        <a:latin typeface="Expert Sans Regular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d pac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 pac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 pac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 pac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 pac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 pac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d pac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d pac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d pac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d pac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d pac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d pac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d pack 13">
        <a:dk1>
          <a:srgbClr val="808284"/>
        </a:dk1>
        <a:lt1>
          <a:srgbClr val="FFFFFF"/>
        </a:lt1>
        <a:dk2>
          <a:srgbClr val="003A63"/>
        </a:dk2>
        <a:lt2>
          <a:srgbClr val="8ED8F8"/>
        </a:lt2>
        <a:accent1>
          <a:srgbClr val="00A4E8"/>
        </a:accent1>
        <a:accent2>
          <a:srgbClr val="00528A"/>
        </a:accent2>
        <a:accent3>
          <a:srgbClr val="AAAEB7"/>
        </a:accent3>
        <a:accent4>
          <a:srgbClr val="DADADA"/>
        </a:accent4>
        <a:accent5>
          <a:srgbClr val="AACFF2"/>
        </a:accent5>
        <a:accent6>
          <a:srgbClr val="00497D"/>
        </a:accent6>
        <a:hlink>
          <a:srgbClr val="F58025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d pack 14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C0F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AEDC"/>
        </a:accent6>
        <a:hlink>
          <a:srgbClr val="00A4E8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 pack 15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3A6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3459"/>
        </a:accent6>
        <a:hlink>
          <a:srgbClr val="00C0F3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N039_Barclays_Template_021612_7c">
  <a:themeElements>
    <a:clrScheme name="Barclays_Template">
      <a:dk1>
        <a:srgbClr val="000000"/>
      </a:dk1>
      <a:lt1>
        <a:srgbClr val="FFFFFF"/>
      </a:lt1>
      <a:dk2>
        <a:srgbClr val="969696"/>
      </a:dk2>
      <a:lt2>
        <a:srgbClr val="00AEEF"/>
      </a:lt2>
      <a:accent1>
        <a:srgbClr val="FBDB81"/>
      </a:accent1>
      <a:accent2>
        <a:srgbClr val="EC8A40"/>
      </a:accent2>
      <a:accent3>
        <a:srgbClr val="CB5151"/>
      </a:accent3>
      <a:accent4>
        <a:srgbClr val="00395C"/>
      </a:accent4>
      <a:accent5>
        <a:srgbClr val="406B85"/>
      </a:accent5>
      <a:accent6>
        <a:srgbClr val="809CAE"/>
      </a:accent6>
      <a:hlink>
        <a:srgbClr val="007882"/>
      </a:hlink>
      <a:folHlink>
        <a:srgbClr val="143C78"/>
      </a:folHlink>
    </a:clrScheme>
    <a:fontScheme name="Barclays_template_fonts">
      <a:majorFont>
        <a:latin typeface="Expert Sans Regular"/>
        <a:ea typeface=""/>
        <a:cs typeface=""/>
      </a:majorFont>
      <a:minorFont>
        <a:latin typeface="Expert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Slide master 1 1">
        <a:dk1>
          <a:srgbClr val="000000"/>
        </a:dk1>
        <a:lt1>
          <a:srgbClr val="FFFFFF"/>
        </a:lt1>
        <a:dk2>
          <a:srgbClr val="0F90C3"/>
        </a:dk2>
        <a:lt2>
          <a:srgbClr val="00AEEF"/>
        </a:lt2>
        <a:accent1>
          <a:srgbClr val="4D595F"/>
        </a:accent1>
        <a:accent2>
          <a:srgbClr val="00A9B1"/>
        </a:accent2>
        <a:accent3>
          <a:srgbClr val="FFFFFF"/>
        </a:accent3>
        <a:accent4>
          <a:srgbClr val="000000"/>
        </a:accent4>
        <a:accent5>
          <a:srgbClr val="B2B5B6"/>
        </a:accent5>
        <a:accent6>
          <a:srgbClr val="0099A0"/>
        </a:accent6>
        <a:hlink>
          <a:srgbClr val="007882"/>
        </a:hlink>
        <a:folHlink>
          <a:srgbClr val="143C7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LAN039_Barclays_Template_021612_7c">
  <a:themeElements>
    <a:clrScheme name="Barclays_Template">
      <a:dk1>
        <a:srgbClr val="000000"/>
      </a:dk1>
      <a:lt1>
        <a:srgbClr val="FFFFFF"/>
      </a:lt1>
      <a:dk2>
        <a:srgbClr val="969696"/>
      </a:dk2>
      <a:lt2>
        <a:srgbClr val="00AEEF"/>
      </a:lt2>
      <a:accent1>
        <a:srgbClr val="FBDB81"/>
      </a:accent1>
      <a:accent2>
        <a:srgbClr val="EC8A40"/>
      </a:accent2>
      <a:accent3>
        <a:srgbClr val="CB5151"/>
      </a:accent3>
      <a:accent4>
        <a:srgbClr val="00395C"/>
      </a:accent4>
      <a:accent5>
        <a:srgbClr val="406B85"/>
      </a:accent5>
      <a:accent6>
        <a:srgbClr val="809CAE"/>
      </a:accent6>
      <a:hlink>
        <a:srgbClr val="007882"/>
      </a:hlink>
      <a:folHlink>
        <a:srgbClr val="143C78"/>
      </a:folHlink>
    </a:clrScheme>
    <a:fontScheme name="Barclays_template_fonts">
      <a:majorFont>
        <a:latin typeface="Expert Sans Regular"/>
        <a:ea typeface=""/>
        <a:cs typeface=""/>
      </a:majorFont>
      <a:minorFont>
        <a:latin typeface="Expert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Slide master 1 1">
        <a:dk1>
          <a:srgbClr val="000000"/>
        </a:dk1>
        <a:lt1>
          <a:srgbClr val="FFFFFF"/>
        </a:lt1>
        <a:dk2>
          <a:srgbClr val="0F90C3"/>
        </a:dk2>
        <a:lt2>
          <a:srgbClr val="00AEEF"/>
        </a:lt2>
        <a:accent1>
          <a:srgbClr val="4D595F"/>
        </a:accent1>
        <a:accent2>
          <a:srgbClr val="00A9B1"/>
        </a:accent2>
        <a:accent3>
          <a:srgbClr val="FFFFFF"/>
        </a:accent3>
        <a:accent4>
          <a:srgbClr val="000000"/>
        </a:accent4>
        <a:accent5>
          <a:srgbClr val="B2B5B6"/>
        </a:accent5>
        <a:accent6>
          <a:srgbClr val="0099A0"/>
        </a:accent6>
        <a:hlink>
          <a:srgbClr val="007882"/>
        </a:hlink>
        <a:folHlink>
          <a:srgbClr val="143C7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Divider_slide">
  <a:themeElements>
    <a:clrScheme name="Divider_slide 1">
      <a:dk1>
        <a:srgbClr val="000000"/>
      </a:dk1>
      <a:lt1>
        <a:srgbClr val="FFFFFF"/>
      </a:lt1>
      <a:dk2>
        <a:srgbClr val="969696"/>
      </a:dk2>
      <a:lt2>
        <a:srgbClr val="00AEEF"/>
      </a:lt2>
      <a:accent1>
        <a:srgbClr val="FBDB81"/>
      </a:accent1>
      <a:accent2>
        <a:srgbClr val="EC8A40"/>
      </a:accent2>
      <a:accent3>
        <a:srgbClr val="FFFFFF"/>
      </a:accent3>
      <a:accent4>
        <a:srgbClr val="000000"/>
      </a:accent4>
      <a:accent5>
        <a:srgbClr val="FDEAC1"/>
      </a:accent5>
      <a:accent6>
        <a:srgbClr val="D67D39"/>
      </a:accent6>
      <a:hlink>
        <a:srgbClr val="CB5151"/>
      </a:hlink>
      <a:folHlink>
        <a:srgbClr val="00395C"/>
      </a:folHlink>
    </a:clrScheme>
    <a:fontScheme name="Divider_slide">
      <a:majorFont>
        <a:latin typeface="Expert Sans Regular"/>
        <a:ea typeface=""/>
        <a:cs typeface=""/>
      </a:majorFont>
      <a:minorFont>
        <a:latin typeface="Expert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ivider_slide 1">
        <a:dk1>
          <a:srgbClr val="000000"/>
        </a:dk1>
        <a:lt1>
          <a:srgbClr val="FFFFFF"/>
        </a:lt1>
        <a:dk2>
          <a:srgbClr val="969696"/>
        </a:dk2>
        <a:lt2>
          <a:srgbClr val="00AEEF"/>
        </a:lt2>
        <a:accent1>
          <a:srgbClr val="FBDB81"/>
        </a:accent1>
        <a:accent2>
          <a:srgbClr val="EC8A40"/>
        </a:accent2>
        <a:accent3>
          <a:srgbClr val="FFFFFF"/>
        </a:accent3>
        <a:accent4>
          <a:srgbClr val="000000"/>
        </a:accent4>
        <a:accent5>
          <a:srgbClr val="FDEAC1"/>
        </a:accent5>
        <a:accent6>
          <a:srgbClr val="D67D39"/>
        </a:accent6>
        <a:hlink>
          <a:srgbClr val="CB5151"/>
        </a:hlink>
        <a:folHlink>
          <a:srgbClr val="00395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1_Default Design">
  <a:themeElements>
    <a:clrScheme name="21_Default Design 15">
      <a:dk1>
        <a:srgbClr val="808284"/>
      </a:dk1>
      <a:lt1>
        <a:srgbClr val="FFFFFF"/>
      </a:lt1>
      <a:dk2>
        <a:srgbClr val="00A4E8"/>
      </a:dk2>
      <a:lt2>
        <a:srgbClr val="E2E3E4"/>
      </a:lt2>
      <a:accent1>
        <a:srgbClr val="8ED8F8"/>
      </a:accent1>
      <a:accent2>
        <a:srgbClr val="003A63"/>
      </a:accent2>
      <a:accent3>
        <a:srgbClr val="FFFFFF"/>
      </a:accent3>
      <a:accent4>
        <a:srgbClr val="6C6E70"/>
      </a:accent4>
      <a:accent5>
        <a:srgbClr val="C6E9FB"/>
      </a:accent5>
      <a:accent6>
        <a:srgbClr val="003459"/>
      </a:accent6>
      <a:hlink>
        <a:srgbClr val="00C0F3"/>
      </a:hlink>
      <a:folHlink>
        <a:srgbClr val="5BCBF5"/>
      </a:folHlink>
    </a:clrScheme>
    <a:fontScheme name="21_Default Design">
      <a:majorFont>
        <a:latin typeface="Expert Sans Regular"/>
        <a:ea typeface=""/>
        <a:cs typeface="Arial"/>
      </a:majorFont>
      <a:minorFont>
        <a:latin typeface="Expert Sans Regular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13">
        <a:dk1>
          <a:srgbClr val="808284"/>
        </a:dk1>
        <a:lt1>
          <a:srgbClr val="FFFFFF"/>
        </a:lt1>
        <a:dk2>
          <a:srgbClr val="003A63"/>
        </a:dk2>
        <a:lt2>
          <a:srgbClr val="8ED8F8"/>
        </a:lt2>
        <a:accent1>
          <a:srgbClr val="00A4E8"/>
        </a:accent1>
        <a:accent2>
          <a:srgbClr val="00528A"/>
        </a:accent2>
        <a:accent3>
          <a:srgbClr val="AAAEB7"/>
        </a:accent3>
        <a:accent4>
          <a:srgbClr val="DADADA"/>
        </a:accent4>
        <a:accent5>
          <a:srgbClr val="AACFF2"/>
        </a:accent5>
        <a:accent6>
          <a:srgbClr val="00497D"/>
        </a:accent6>
        <a:hlink>
          <a:srgbClr val="F58025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14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C0F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AEDC"/>
        </a:accent6>
        <a:hlink>
          <a:srgbClr val="00A4E8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15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3A6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3459"/>
        </a:accent6>
        <a:hlink>
          <a:srgbClr val="00C0F3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LAN041_Barclays_Template_021612_1a">
  <a:themeElements>
    <a:clrScheme name="LAN041_Barclays_Template_021612_1a 1">
      <a:dk1>
        <a:srgbClr val="000000"/>
      </a:dk1>
      <a:lt1>
        <a:srgbClr val="FFFFFF"/>
      </a:lt1>
      <a:dk2>
        <a:srgbClr val="969696"/>
      </a:dk2>
      <a:lt2>
        <a:srgbClr val="00AEEF"/>
      </a:lt2>
      <a:accent1>
        <a:srgbClr val="FBDB81"/>
      </a:accent1>
      <a:accent2>
        <a:srgbClr val="EC8A40"/>
      </a:accent2>
      <a:accent3>
        <a:srgbClr val="FFFFFF"/>
      </a:accent3>
      <a:accent4>
        <a:srgbClr val="000000"/>
      </a:accent4>
      <a:accent5>
        <a:srgbClr val="FDEAC1"/>
      </a:accent5>
      <a:accent6>
        <a:srgbClr val="D67D39"/>
      </a:accent6>
      <a:hlink>
        <a:srgbClr val="CB5151"/>
      </a:hlink>
      <a:folHlink>
        <a:srgbClr val="00395C"/>
      </a:folHlink>
    </a:clrScheme>
    <a:fontScheme name="Barclays_template_fonts">
      <a:majorFont>
        <a:latin typeface="Expert Sans Regular"/>
        <a:ea typeface=""/>
        <a:cs typeface=""/>
      </a:majorFont>
      <a:minorFont>
        <a:latin typeface="Expert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LAN041_Barclays_Template_021612_1a 1">
        <a:dk1>
          <a:srgbClr val="000000"/>
        </a:dk1>
        <a:lt1>
          <a:srgbClr val="FFFFFF"/>
        </a:lt1>
        <a:dk2>
          <a:srgbClr val="969696"/>
        </a:dk2>
        <a:lt2>
          <a:srgbClr val="00AEEF"/>
        </a:lt2>
        <a:accent1>
          <a:srgbClr val="FBDB81"/>
        </a:accent1>
        <a:accent2>
          <a:srgbClr val="EC8A40"/>
        </a:accent2>
        <a:accent3>
          <a:srgbClr val="FFFFFF"/>
        </a:accent3>
        <a:accent4>
          <a:srgbClr val="000000"/>
        </a:accent4>
        <a:accent5>
          <a:srgbClr val="FDEAC1"/>
        </a:accent5>
        <a:accent6>
          <a:srgbClr val="D67D39"/>
        </a:accent6>
        <a:hlink>
          <a:srgbClr val="CB5151"/>
        </a:hlink>
        <a:folHlink>
          <a:srgbClr val="00395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Barcorp resource review 1st Dec V0 5">
  <a:themeElements>
    <a:clrScheme name="1_Default Design 15">
      <a:dk1>
        <a:srgbClr val="808284"/>
      </a:dk1>
      <a:lt1>
        <a:srgbClr val="FFFFFF"/>
      </a:lt1>
      <a:dk2>
        <a:srgbClr val="00A4E8"/>
      </a:dk2>
      <a:lt2>
        <a:srgbClr val="E2E3E4"/>
      </a:lt2>
      <a:accent1>
        <a:srgbClr val="8ED8F8"/>
      </a:accent1>
      <a:accent2>
        <a:srgbClr val="003A63"/>
      </a:accent2>
      <a:accent3>
        <a:srgbClr val="FFFFFF"/>
      </a:accent3>
      <a:accent4>
        <a:srgbClr val="6C6E70"/>
      </a:accent4>
      <a:accent5>
        <a:srgbClr val="C6E9FB"/>
      </a:accent5>
      <a:accent6>
        <a:srgbClr val="003459"/>
      </a:accent6>
      <a:hlink>
        <a:srgbClr val="00C0F3"/>
      </a:hlink>
      <a:folHlink>
        <a:srgbClr val="5BCBF5"/>
      </a:folHlink>
    </a:clrScheme>
    <a:fontScheme name="1_Default Design">
      <a:majorFont>
        <a:latin typeface="Expert Sans Regular"/>
        <a:ea typeface=""/>
        <a:cs typeface="Arial"/>
      </a:majorFont>
      <a:minorFont>
        <a:latin typeface="Expert Sans Regular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xpert Sans Regular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xpert Sans Regular" pitchFamily="34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808284"/>
        </a:dk1>
        <a:lt1>
          <a:srgbClr val="FFFFFF"/>
        </a:lt1>
        <a:dk2>
          <a:srgbClr val="003A63"/>
        </a:dk2>
        <a:lt2>
          <a:srgbClr val="8ED8F8"/>
        </a:lt2>
        <a:accent1>
          <a:srgbClr val="00A4E8"/>
        </a:accent1>
        <a:accent2>
          <a:srgbClr val="00528A"/>
        </a:accent2>
        <a:accent3>
          <a:srgbClr val="AAAEB7"/>
        </a:accent3>
        <a:accent4>
          <a:srgbClr val="DADADA"/>
        </a:accent4>
        <a:accent5>
          <a:srgbClr val="AACFF2"/>
        </a:accent5>
        <a:accent6>
          <a:srgbClr val="00497D"/>
        </a:accent6>
        <a:hlink>
          <a:srgbClr val="F58025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C0F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AEDC"/>
        </a:accent6>
        <a:hlink>
          <a:srgbClr val="00A4E8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3A6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3459"/>
        </a:accent6>
        <a:hlink>
          <a:srgbClr val="00C0F3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1789</TotalTime>
  <Words>3414</Words>
  <Application>Microsoft Office PowerPoint</Application>
  <PresentationFormat>A4 Paper (210x297 mm)</PresentationFormat>
  <Paragraphs>944</Paragraphs>
  <Slides>25</Slides>
  <Notes>10</Notes>
  <HiddenSlides>3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55" baseType="lpstr">
      <vt:lpstr>ＭＳ Ｐゴシック</vt:lpstr>
      <vt:lpstr>ＭＳ Ｐゴシック</vt:lpstr>
      <vt:lpstr>Arial</vt:lpstr>
      <vt:lpstr>Calibri</vt:lpstr>
      <vt:lpstr>Expert Humanist Black</vt:lpstr>
      <vt:lpstr>Expert Sans Light</vt:lpstr>
      <vt:lpstr>Expert Sans Regular</vt:lpstr>
      <vt:lpstr>Helvetica</vt:lpstr>
      <vt:lpstr>Helvetica Neue</vt:lpstr>
      <vt:lpstr>Helvetica Neue Light</vt:lpstr>
      <vt:lpstr>Helvetica Neue Thin</vt:lpstr>
      <vt:lpstr>Lucida Grande</vt:lpstr>
      <vt:lpstr>Myriad Pro</vt:lpstr>
      <vt:lpstr>Open Sans</vt:lpstr>
      <vt:lpstr>Wingdings</vt:lpstr>
      <vt:lpstr>Barcorp resource review 1st Dec V0 5</vt:lpstr>
      <vt:lpstr>3_Default Design</vt:lpstr>
      <vt:lpstr>Std pack</vt:lpstr>
      <vt:lpstr>LAN039_Barclays_Template_021612_7c</vt:lpstr>
      <vt:lpstr>1_LAN039_Barclays_Template_021612_7c</vt:lpstr>
      <vt:lpstr>3_Divider_slide</vt:lpstr>
      <vt:lpstr>21_Default Design</vt:lpstr>
      <vt:lpstr>LAN041_Barclays_Template_021612_1a</vt:lpstr>
      <vt:lpstr>1_Barcorp resource review 1st Dec V0 5</vt:lpstr>
      <vt:lpstr>22_Default Design</vt:lpstr>
      <vt:lpstr>2_LAN039_Barclays_Template_021612_7c</vt:lpstr>
      <vt:lpstr>3_LAN039_Barclays_Template_021612_7c</vt:lpstr>
      <vt:lpstr>7_LAN039_Barclays_Template_021612_7c</vt:lpstr>
      <vt:lpstr>2_Barcorp resource review 1st Dec V0 5</vt:lpstr>
      <vt:lpstr>think-cell Slide</vt:lpstr>
      <vt:lpstr>DevOps Transformation Journe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eople &amp; Proces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Technology Infrastructure &amp; Services  Resourcing of Barcorp projects</dc:title>
  <dc:creator>Austen, Paul : RBB COO</dc:creator>
  <cp:lastModifiedBy>Vinayprasad Hegde</cp:lastModifiedBy>
  <cp:revision>1055</cp:revision>
  <cp:lastPrinted>2015-06-17T11:17:04Z</cp:lastPrinted>
  <dcterms:modified xsi:type="dcterms:W3CDTF">2015-06-18T16:54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